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5.xml" ContentType="application/vnd.openxmlformats-officedocument.them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6.xml" ContentType="application/vnd.openxmlformats-officedocument.them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heme/theme8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0.xml" ContentType="application/vnd.openxmlformats-officedocument.theme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1.xml" ContentType="application/vnd.openxmlformats-officedocument.theme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2.xml" ContentType="application/vnd.openxmlformats-officedocument.theme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notesSlides/notesSlide1.xml" ContentType="application/vnd.openxmlformats-officedocument.presentationml.notesSlide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notesSlides/notesSlide2.xml" ContentType="application/vnd.openxmlformats-officedocument.presentationml.notesSlide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notesSlides/notesSlide3.xml" ContentType="application/vnd.openxmlformats-officedocument.presentationml.notesSlide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0" r:id="rId1"/>
    <p:sldMasterId id="2147484172" r:id="rId2"/>
    <p:sldMasterId id="2147484187" r:id="rId3"/>
    <p:sldMasterId id="2147484193" r:id="rId4"/>
    <p:sldMasterId id="2147484209" r:id="rId5"/>
    <p:sldMasterId id="2147484224" r:id="rId6"/>
    <p:sldMasterId id="2147484242" r:id="rId7"/>
    <p:sldMasterId id="2147484269" r:id="rId8"/>
    <p:sldMasterId id="2147484283" r:id="rId9"/>
    <p:sldMasterId id="2147484306" r:id="rId10"/>
    <p:sldMasterId id="2147484321" r:id="rId11"/>
    <p:sldMasterId id="2147484336" r:id="rId12"/>
  </p:sldMasterIdLst>
  <p:notesMasterIdLst>
    <p:notesMasterId r:id="rId22"/>
  </p:notesMasterIdLst>
  <p:handoutMasterIdLst>
    <p:handoutMasterId r:id="rId23"/>
  </p:handoutMasterIdLst>
  <p:sldIdLst>
    <p:sldId id="2147478105" r:id="rId13"/>
    <p:sldId id="2147478121" r:id="rId14"/>
    <p:sldId id="2147478106" r:id="rId15"/>
    <p:sldId id="2147481738" r:id="rId16"/>
    <p:sldId id="2147478110" r:id="rId17"/>
    <p:sldId id="2147481732" r:id="rId18"/>
    <p:sldId id="2147481735" r:id="rId19"/>
    <p:sldId id="2147481781" r:id="rId20"/>
    <p:sldId id="2147474465" r:id="rId21"/>
  </p:sldIdLst>
  <p:sldSz cx="12192000" cy="6858000"/>
  <p:notesSz cx="7102475" cy="9388475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  <p188:author id="{87A9A86B-D49B-1595-B7BF-121CC7602001}" name="Elizabeth Newman" initials="EN" userId="S::Elizabeth_Newman@mckinsey.com::d6d5ba38-3d09-447a-b97b-908884c0e4e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F0E7"/>
    <a:srgbClr val="6ECBF7"/>
    <a:srgbClr val="0BDACB"/>
    <a:srgbClr val="00B5EF"/>
    <a:srgbClr val="00A9F4"/>
    <a:srgbClr val="2251FF"/>
    <a:srgbClr val="F0F0F0"/>
    <a:srgbClr val="061F79"/>
    <a:srgbClr val="1537BA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39" autoAdjust="0"/>
    <p:restoredTop sz="93324" autoAdjust="0"/>
  </p:normalViewPr>
  <p:slideViewPr>
    <p:cSldViewPr snapToGrid="0" snapToObjects="1">
      <p:cViewPr varScale="1">
        <p:scale>
          <a:sx n="83" d="100"/>
          <a:sy n="83" d="100"/>
        </p:scale>
        <p:origin x="802" y="7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2 May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2 May 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Image Placeholder 1">
            <a:extLst>
              <a:ext uri="{FF2B5EF4-FFF2-40B4-BE49-F238E27FC236}">
                <a16:creationId xmlns:a16="http://schemas.microsoft.com/office/drawing/2014/main" id="{30A02E60-AC74-4021-9EEE-D0543D14B3D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Notes Placeholder 2">
            <a:extLst>
              <a:ext uri="{FF2B5EF4-FFF2-40B4-BE49-F238E27FC236}">
                <a16:creationId xmlns:a16="http://schemas.microsoft.com/office/drawing/2014/main" id="{28711665-42AB-4B63-B2BD-F375F8B96E9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altLang="en-US"/>
          </a:p>
        </p:txBody>
      </p:sp>
      <p:sp>
        <p:nvSpPr>
          <p:cNvPr id="57348" name="Date Placeholder 3">
            <a:extLst>
              <a:ext uri="{FF2B5EF4-FFF2-40B4-BE49-F238E27FC236}">
                <a16:creationId xmlns:a16="http://schemas.microsoft.com/office/drawing/2014/main" id="{E40F58B6-CED1-4638-A170-82B85E3D136F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B669C15-352D-4FCE-B11B-37AE4699DA6F}" type="datetime3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 May 2024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349" name="Slide Number Placeholder 4">
            <a:extLst>
              <a:ext uri="{FF2B5EF4-FFF2-40B4-BE49-F238E27FC236}">
                <a16:creationId xmlns:a16="http://schemas.microsoft.com/office/drawing/2014/main" id="{B3271F35-7C09-43FA-AADE-4372C6D796A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B6B1218-CD85-4697-9C6B-731715556467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04470746-AD6F-4BF3-8B6D-3BCBB41D22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ffectLst/>
              </a:rPr>
              <a:t>Future, Vision, Bold 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368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May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7468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2 May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823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6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4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1.emf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97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13" Type="http://schemas.openxmlformats.org/officeDocument/2006/relationships/tags" Target="../tags/tag237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12" Type="http://schemas.openxmlformats.org/officeDocument/2006/relationships/tags" Target="../tags/tag236.xml"/><Relationship Id="rId2" Type="http://schemas.openxmlformats.org/officeDocument/2006/relationships/tags" Target="../tags/tag226.xml"/><Relationship Id="rId16" Type="http://schemas.openxmlformats.org/officeDocument/2006/relationships/image" Target="../media/image1.emf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11" Type="http://schemas.openxmlformats.org/officeDocument/2006/relationships/tags" Target="../tags/tag235.xml"/><Relationship Id="rId5" Type="http://schemas.openxmlformats.org/officeDocument/2006/relationships/tags" Target="../tags/tag229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234.xml"/><Relationship Id="rId4" Type="http://schemas.openxmlformats.org/officeDocument/2006/relationships/tags" Target="../tags/tag228.xml"/><Relationship Id="rId9" Type="http://schemas.openxmlformats.org/officeDocument/2006/relationships/tags" Target="../tags/tag233.xml"/><Relationship Id="rId14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image" Target="../media/image7.png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12" Type="http://schemas.openxmlformats.org/officeDocument/2006/relationships/image" Target="../media/image2.emf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287.xml"/><Relationship Id="rId10" Type="http://schemas.openxmlformats.org/officeDocument/2006/relationships/image" Target="../media/image3.png"/><Relationship Id="rId4" Type="http://schemas.openxmlformats.org/officeDocument/2006/relationships/tags" Target="../tags/tag286.xml"/><Relationship Id="rId9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5" Type="http://schemas.openxmlformats.org/officeDocument/2006/relationships/tags" Target="../tags/tag295.xml"/><Relationship Id="rId10" Type="http://schemas.openxmlformats.org/officeDocument/2006/relationships/image" Target="../media/image1.emf"/><Relationship Id="rId4" Type="http://schemas.openxmlformats.org/officeDocument/2006/relationships/tags" Target="../tags/tag294.xml"/><Relationship Id="rId9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30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30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308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tags" Target="../tags/tag311.xml"/><Relationship Id="rId5" Type="http://schemas.openxmlformats.org/officeDocument/2006/relationships/tags" Target="../tags/tag310.xml"/><Relationship Id="rId4" Type="http://schemas.openxmlformats.org/officeDocument/2006/relationships/tags" Target="../tags/tag309.xml"/><Relationship Id="rId9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tags" Target="../tags/tag317.xml"/><Relationship Id="rId5" Type="http://schemas.openxmlformats.org/officeDocument/2006/relationships/tags" Target="../tags/tag316.xml"/><Relationship Id="rId10" Type="http://schemas.openxmlformats.org/officeDocument/2006/relationships/image" Target="../media/image8.emf"/><Relationship Id="rId4" Type="http://schemas.openxmlformats.org/officeDocument/2006/relationships/tags" Target="../tags/tag315.xml"/><Relationship Id="rId9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oleObject" Target="../embeddings/oleObject4.bin"/><Relationship Id="rId5" Type="http://schemas.openxmlformats.org/officeDocument/2006/relationships/tags" Target="../tags/tag5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13" Type="http://schemas.openxmlformats.org/officeDocument/2006/relationships/tags" Target="../tags/tag331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12" Type="http://schemas.openxmlformats.org/officeDocument/2006/relationships/tags" Target="../tags/tag330.xml"/><Relationship Id="rId2" Type="http://schemas.openxmlformats.org/officeDocument/2006/relationships/tags" Target="../tags/tag320.xml"/><Relationship Id="rId16" Type="http://schemas.openxmlformats.org/officeDocument/2006/relationships/image" Target="../media/image1.emf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tags" Target="../tags/tag329.xml"/><Relationship Id="rId5" Type="http://schemas.openxmlformats.org/officeDocument/2006/relationships/tags" Target="../tags/tag323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328.xml"/><Relationship Id="rId4" Type="http://schemas.openxmlformats.org/officeDocument/2006/relationships/tags" Target="../tags/tag322.xml"/><Relationship Id="rId9" Type="http://schemas.openxmlformats.org/officeDocument/2006/relationships/tags" Target="../tags/tag327.xml"/><Relationship Id="rId14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tags" Target="../tags/tag344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12" Type="http://schemas.openxmlformats.org/officeDocument/2006/relationships/tags" Target="../tags/tag343.xml"/><Relationship Id="rId2" Type="http://schemas.openxmlformats.org/officeDocument/2006/relationships/tags" Target="../tags/tag333.xml"/><Relationship Id="rId16" Type="http://schemas.openxmlformats.org/officeDocument/2006/relationships/image" Target="../media/image1.emf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5" Type="http://schemas.openxmlformats.org/officeDocument/2006/relationships/tags" Target="../tags/tag336.xml"/><Relationship Id="rId15" Type="http://schemas.openxmlformats.org/officeDocument/2006/relationships/oleObject" Target="../embeddings/oleObject22.bin"/><Relationship Id="rId10" Type="http://schemas.openxmlformats.org/officeDocument/2006/relationships/tags" Target="../tags/tag341.xml"/><Relationship Id="rId4" Type="http://schemas.openxmlformats.org/officeDocument/2006/relationships/tags" Target="../tags/tag335.xml"/><Relationship Id="rId9" Type="http://schemas.openxmlformats.org/officeDocument/2006/relationships/tags" Target="../tags/tag340.xml"/><Relationship Id="rId14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image" Target="../media/image9.emf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tags" Target="../tags/tag350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349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348.xml"/><Relationship Id="rId9" Type="http://schemas.openxmlformats.org/officeDocument/2006/relationships/tags" Target="../tags/tag35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13" Type="http://schemas.openxmlformats.org/officeDocument/2006/relationships/tags" Target="../tags/tag366.xml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12" Type="http://schemas.openxmlformats.org/officeDocument/2006/relationships/tags" Target="../tags/tag365.xml"/><Relationship Id="rId2" Type="http://schemas.openxmlformats.org/officeDocument/2006/relationships/tags" Target="../tags/tag355.xml"/><Relationship Id="rId16" Type="http://schemas.openxmlformats.org/officeDocument/2006/relationships/image" Target="../media/image1.emf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11" Type="http://schemas.openxmlformats.org/officeDocument/2006/relationships/tags" Target="../tags/tag364.xml"/><Relationship Id="rId5" Type="http://schemas.openxmlformats.org/officeDocument/2006/relationships/tags" Target="../tags/tag358.xml"/><Relationship Id="rId15" Type="http://schemas.openxmlformats.org/officeDocument/2006/relationships/oleObject" Target="../embeddings/oleObject24.bin"/><Relationship Id="rId10" Type="http://schemas.openxmlformats.org/officeDocument/2006/relationships/tags" Target="../tags/tag363.xml"/><Relationship Id="rId4" Type="http://schemas.openxmlformats.org/officeDocument/2006/relationships/tags" Target="../tags/tag357.xml"/><Relationship Id="rId9" Type="http://schemas.openxmlformats.org/officeDocument/2006/relationships/tags" Target="../tags/tag362.xml"/><Relationship Id="rId14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13" Type="http://schemas.openxmlformats.org/officeDocument/2006/relationships/tags" Target="../tags/tag379.xml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12" Type="http://schemas.openxmlformats.org/officeDocument/2006/relationships/tags" Target="../tags/tag378.xml"/><Relationship Id="rId2" Type="http://schemas.openxmlformats.org/officeDocument/2006/relationships/tags" Target="../tags/tag368.xml"/><Relationship Id="rId16" Type="http://schemas.openxmlformats.org/officeDocument/2006/relationships/image" Target="../media/image9.emf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11" Type="http://schemas.openxmlformats.org/officeDocument/2006/relationships/tags" Target="../tags/tag377.xml"/><Relationship Id="rId5" Type="http://schemas.openxmlformats.org/officeDocument/2006/relationships/tags" Target="../tags/tag371.xml"/><Relationship Id="rId15" Type="http://schemas.openxmlformats.org/officeDocument/2006/relationships/oleObject" Target="../embeddings/oleObject25.bin"/><Relationship Id="rId10" Type="http://schemas.openxmlformats.org/officeDocument/2006/relationships/tags" Target="../tags/tag376.xml"/><Relationship Id="rId4" Type="http://schemas.openxmlformats.org/officeDocument/2006/relationships/tags" Target="../tags/tag370.xml"/><Relationship Id="rId9" Type="http://schemas.openxmlformats.org/officeDocument/2006/relationships/tags" Target="../tags/tag375.xml"/><Relationship Id="rId14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13" Type="http://schemas.openxmlformats.org/officeDocument/2006/relationships/tags" Target="../tags/tag392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12" Type="http://schemas.openxmlformats.org/officeDocument/2006/relationships/tags" Target="../tags/tag391.xml"/><Relationship Id="rId2" Type="http://schemas.openxmlformats.org/officeDocument/2006/relationships/tags" Target="../tags/tag381.xml"/><Relationship Id="rId16" Type="http://schemas.openxmlformats.org/officeDocument/2006/relationships/image" Target="../media/image9.emf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11" Type="http://schemas.openxmlformats.org/officeDocument/2006/relationships/tags" Target="../tags/tag390.xml"/><Relationship Id="rId5" Type="http://schemas.openxmlformats.org/officeDocument/2006/relationships/tags" Target="../tags/tag384.xml"/><Relationship Id="rId15" Type="http://schemas.openxmlformats.org/officeDocument/2006/relationships/oleObject" Target="../embeddings/oleObject26.bin"/><Relationship Id="rId10" Type="http://schemas.openxmlformats.org/officeDocument/2006/relationships/tags" Target="../tags/tag389.xml"/><Relationship Id="rId4" Type="http://schemas.openxmlformats.org/officeDocument/2006/relationships/tags" Target="../tags/tag383.xml"/><Relationship Id="rId9" Type="http://schemas.openxmlformats.org/officeDocument/2006/relationships/tags" Target="../tags/tag388.xml"/><Relationship Id="rId14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13" Type="http://schemas.openxmlformats.org/officeDocument/2006/relationships/tags" Target="../tags/tag405.xml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12" Type="http://schemas.openxmlformats.org/officeDocument/2006/relationships/tags" Target="../tags/tag404.xml"/><Relationship Id="rId2" Type="http://schemas.openxmlformats.org/officeDocument/2006/relationships/tags" Target="../tags/tag394.xml"/><Relationship Id="rId16" Type="http://schemas.openxmlformats.org/officeDocument/2006/relationships/image" Target="../media/image1.emf"/><Relationship Id="rId1" Type="http://schemas.openxmlformats.org/officeDocument/2006/relationships/tags" Target="../tags/tag393.xml"/><Relationship Id="rId6" Type="http://schemas.openxmlformats.org/officeDocument/2006/relationships/tags" Target="../tags/tag398.xml"/><Relationship Id="rId11" Type="http://schemas.openxmlformats.org/officeDocument/2006/relationships/tags" Target="../tags/tag403.xml"/><Relationship Id="rId5" Type="http://schemas.openxmlformats.org/officeDocument/2006/relationships/tags" Target="../tags/tag397.xml"/><Relationship Id="rId15" Type="http://schemas.openxmlformats.org/officeDocument/2006/relationships/oleObject" Target="../embeddings/oleObject27.bin"/><Relationship Id="rId10" Type="http://schemas.openxmlformats.org/officeDocument/2006/relationships/tags" Target="../tags/tag402.xml"/><Relationship Id="rId4" Type="http://schemas.openxmlformats.org/officeDocument/2006/relationships/tags" Target="../tags/tag396.xml"/><Relationship Id="rId9" Type="http://schemas.openxmlformats.org/officeDocument/2006/relationships/tags" Target="../tags/tag401.xml"/><Relationship Id="rId14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13" Type="http://schemas.openxmlformats.org/officeDocument/2006/relationships/tags" Target="../tags/tag418.xml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12" Type="http://schemas.openxmlformats.org/officeDocument/2006/relationships/tags" Target="../tags/tag417.xml"/><Relationship Id="rId2" Type="http://schemas.openxmlformats.org/officeDocument/2006/relationships/tags" Target="../tags/tag407.xml"/><Relationship Id="rId16" Type="http://schemas.openxmlformats.org/officeDocument/2006/relationships/image" Target="../media/image1.emf"/><Relationship Id="rId1" Type="http://schemas.openxmlformats.org/officeDocument/2006/relationships/tags" Target="../tags/tag406.xml"/><Relationship Id="rId6" Type="http://schemas.openxmlformats.org/officeDocument/2006/relationships/tags" Target="../tags/tag411.xml"/><Relationship Id="rId11" Type="http://schemas.openxmlformats.org/officeDocument/2006/relationships/tags" Target="../tags/tag416.xml"/><Relationship Id="rId5" Type="http://schemas.openxmlformats.org/officeDocument/2006/relationships/tags" Target="../tags/tag410.xml"/><Relationship Id="rId15" Type="http://schemas.openxmlformats.org/officeDocument/2006/relationships/oleObject" Target="../embeddings/oleObject28.bin"/><Relationship Id="rId10" Type="http://schemas.openxmlformats.org/officeDocument/2006/relationships/tags" Target="../tags/tag415.xml"/><Relationship Id="rId4" Type="http://schemas.openxmlformats.org/officeDocument/2006/relationships/tags" Target="../tags/tag409.xml"/><Relationship Id="rId9" Type="http://schemas.openxmlformats.org/officeDocument/2006/relationships/tags" Target="../tags/tag414.xml"/><Relationship Id="rId14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421.xml"/><Relationship Id="rId7" Type="http://schemas.openxmlformats.org/officeDocument/2006/relationships/tags" Target="../tags/tag425.xml"/><Relationship Id="rId2" Type="http://schemas.openxmlformats.org/officeDocument/2006/relationships/tags" Target="../tags/tag420.xml"/><Relationship Id="rId1" Type="http://schemas.openxmlformats.org/officeDocument/2006/relationships/tags" Target="../tags/tag419.xml"/><Relationship Id="rId6" Type="http://schemas.openxmlformats.org/officeDocument/2006/relationships/tags" Target="../tags/tag424.xml"/><Relationship Id="rId5" Type="http://schemas.openxmlformats.org/officeDocument/2006/relationships/tags" Target="../tags/tag423.xml"/><Relationship Id="rId4" Type="http://schemas.openxmlformats.org/officeDocument/2006/relationships/tags" Target="../tags/tag42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28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42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32.xml"/><Relationship Id="rId7" Type="http://schemas.openxmlformats.org/officeDocument/2006/relationships/image" Target="../media/image2.emf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13" Type="http://schemas.openxmlformats.org/officeDocument/2006/relationships/tags" Target="../tags/tag445.xml"/><Relationship Id="rId3" Type="http://schemas.openxmlformats.org/officeDocument/2006/relationships/tags" Target="../tags/tag435.xml"/><Relationship Id="rId7" Type="http://schemas.openxmlformats.org/officeDocument/2006/relationships/tags" Target="../tags/tag439.xml"/><Relationship Id="rId12" Type="http://schemas.openxmlformats.org/officeDocument/2006/relationships/tags" Target="../tags/tag444.xml"/><Relationship Id="rId17" Type="http://schemas.openxmlformats.org/officeDocument/2006/relationships/image" Target="../media/image11.emf"/><Relationship Id="rId2" Type="http://schemas.openxmlformats.org/officeDocument/2006/relationships/tags" Target="../tags/tag434.xml"/><Relationship Id="rId16" Type="http://schemas.openxmlformats.org/officeDocument/2006/relationships/oleObject" Target="../embeddings/oleObject30.bin"/><Relationship Id="rId1" Type="http://schemas.openxmlformats.org/officeDocument/2006/relationships/tags" Target="../tags/tag433.xml"/><Relationship Id="rId6" Type="http://schemas.openxmlformats.org/officeDocument/2006/relationships/tags" Target="../tags/tag438.xml"/><Relationship Id="rId11" Type="http://schemas.openxmlformats.org/officeDocument/2006/relationships/tags" Target="../tags/tag443.xml"/><Relationship Id="rId5" Type="http://schemas.openxmlformats.org/officeDocument/2006/relationships/tags" Target="../tags/tag437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442.xml"/><Relationship Id="rId4" Type="http://schemas.openxmlformats.org/officeDocument/2006/relationships/tags" Target="../tags/tag436.xml"/><Relationship Id="rId9" Type="http://schemas.openxmlformats.org/officeDocument/2006/relationships/tags" Target="../tags/tag441.xml"/><Relationship Id="rId14" Type="http://schemas.openxmlformats.org/officeDocument/2006/relationships/tags" Target="../tags/tag446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454.xml"/><Relationship Id="rId3" Type="http://schemas.openxmlformats.org/officeDocument/2006/relationships/tags" Target="../tags/tag449.xml"/><Relationship Id="rId7" Type="http://schemas.openxmlformats.org/officeDocument/2006/relationships/tags" Target="../tags/tag453.xml"/><Relationship Id="rId12" Type="http://schemas.openxmlformats.org/officeDocument/2006/relationships/image" Target="../media/image12.png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tags" Target="../tags/tag452.xml"/><Relationship Id="rId11" Type="http://schemas.openxmlformats.org/officeDocument/2006/relationships/image" Target="../media/image9.emf"/><Relationship Id="rId5" Type="http://schemas.openxmlformats.org/officeDocument/2006/relationships/tags" Target="../tags/tag451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450.xml"/><Relationship Id="rId9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457.xml"/><Relationship Id="rId7" Type="http://schemas.openxmlformats.org/officeDocument/2006/relationships/tags" Target="../tags/tag461.xml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tags" Target="../tags/tag460.xml"/><Relationship Id="rId5" Type="http://schemas.openxmlformats.org/officeDocument/2006/relationships/tags" Target="../tags/tag459.xml"/><Relationship Id="rId10" Type="http://schemas.openxmlformats.org/officeDocument/2006/relationships/image" Target="../media/image1.emf"/><Relationship Id="rId4" Type="http://schemas.openxmlformats.org/officeDocument/2006/relationships/tags" Target="../tags/tag458.xml"/><Relationship Id="rId9" Type="http://schemas.openxmlformats.org/officeDocument/2006/relationships/oleObject" Target="../embeddings/oleObject32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64.xml"/><Relationship Id="rId7" Type="http://schemas.openxmlformats.org/officeDocument/2006/relationships/image" Target="../media/image2.emf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465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495.xml"/><Relationship Id="rId13" Type="http://schemas.openxmlformats.org/officeDocument/2006/relationships/oleObject" Target="../embeddings/oleObject35.bin"/><Relationship Id="rId3" Type="http://schemas.openxmlformats.org/officeDocument/2006/relationships/tags" Target="../tags/tag490.xml"/><Relationship Id="rId7" Type="http://schemas.openxmlformats.org/officeDocument/2006/relationships/tags" Target="../tags/tag494.xml"/><Relationship Id="rId12" Type="http://schemas.openxmlformats.org/officeDocument/2006/relationships/image" Target="../media/image5.svg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11" Type="http://schemas.openxmlformats.org/officeDocument/2006/relationships/image" Target="../media/image4.png"/><Relationship Id="rId5" Type="http://schemas.openxmlformats.org/officeDocument/2006/relationships/tags" Target="../tags/tag492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491.xml"/><Relationship Id="rId9" Type="http://schemas.openxmlformats.org/officeDocument/2006/relationships/tags" Target="../tags/tag496.xml"/><Relationship Id="rId1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499.xml"/><Relationship Id="rId7" Type="http://schemas.openxmlformats.org/officeDocument/2006/relationships/tags" Target="../tags/tag503.xml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tags" Target="../tags/tag502.xml"/><Relationship Id="rId5" Type="http://schemas.openxmlformats.org/officeDocument/2006/relationships/tags" Target="../tags/tag501.xml"/><Relationship Id="rId10" Type="http://schemas.openxmlformats.org/officeDocument/2006/relationships/image" Target="../media/image1.emf"/><Relationship Id="rId4" Type="http://schemas.openxmlformats.org/officeDocument/2006/relationships/tags" Target="../tags/tag500.xml"/><Relationship Id="rId9" Type="http://schemas.openxmlformats.org/officeDocument/2006/relationships/oleObject" Target="../embeddings/oleObject3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06.xml"/><Relationship Id="rId2" Type="http://schemas.openxmlformats.org/officeDocument/2006/relationships/tags" Target="../tags/tag505.xml"/><Relationship Id="rId1" Type="http://schemas.openxmlformats.org/officeDocument/2006/relationships/tags" Target="../tags/tag504.xml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50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510.xml"/><Relationship Id="rId2" Type="http://schemas.openxmlformats.org/officeDocument/2006/relationships/tags" Target="../tags/tag509.xml"/><Relationship Id="rId1" Type="http://schemas.openxmlformats.org/officeDocument/2006/relationships/tags" Target="../tags/tag508.xml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51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4.pn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2.emf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93.xml"/><Relationship Id="rId15" Type="http://schemas.openxmlformats.org/officeDocument/2006/relationships/image" Target="../media/image6.png"/><Relationship Id="rId10" Type="http://schemas.openxmlformats.org/officeDocument/2006/relationships/image" Target="../media/image3.png"/><Relationship Id="rId4" Type="http://schemas.openxmlformats.org/officeDocument/2006/relationships/tags" Target="../tags/tag92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5.sv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514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513.xml"/><Relationship Id="rId1" Type="http://schemas.openxmlformats.org/officeDocument/2006/relationships/tags" Target="../tags/tag512.xml"/><Relationship Id="rId6" Type="http://schemas.openxmlformats.org/officeDocument/2006/relationships/tags" Target="../tags/tag517.xml"/><Relationship Id="rId5" Type="http://schemas.openxmlformats.org/officeDocument/2006/relationships/tags" Target="../tags/tag516.xml"/><Relationship Id="rId4" Type="http://schemas.openxmlformats.org/officeDocument/2006/relationships/tags" Target="../tags/tag515.xml"/><Relationship Id="rId9" Type="http://schemas.openxmlformats.org/officeDocument/2006/relationships/image" Target="../media/image8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520.xml"/><Relationship Id="rId7" Type="http://schemas.openxmlformats.org/officeDocument/2006/relationships/tags" Target="../tags/tag524.xml"/><Relationship Id="rId2" Type="http://schemas.openxmlformats.org/officeDocument/2006/relationships/tags" Target="../tags/tag519.xml"/><Relationship Id="rId1" Type="http://schemas.openxmlformats.org/officeDocument/2006/relationships/tags" Target="../tags/tag518.xml"/><Relationship Id="rId6" Type="http://schemas.openxmlformats.org/officeDocument/2006/relationships/tags" Target="../tags/tag523.xml"/><Relationship Id="rId5" Type="http://schemas.openxmlformats.org/officeDocument/2006/relationships/tags" Target="../tags/tag522.xml"/><Relationship Id="rId10" Type="http://schemas.openxmlformats.org/officeDocument/2006/relationships/image" Target="../media/image8.emf"/><Relationship Id="rId4" Type="http://schemas.openxmlformats.org/officeDocument/2006/relationships/tags" Target="../tags/tag521.xml"/><Relationship Id="rId9" Type="http://schemas.openxmlformats.org/officeDocument/2006/relationships/oleObject" Target="../embeddings/oleObject38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532.xml"/><Relationship Id="rId3" Type="http://schemas.openxmlformats.org/officeDocument/2006/relationships/tags" Target="../tags/tag527.xml"/><Relationship Id="rId7" Type="http://schemas.openxmlformats.org/officeDocument/2006/relationships/tags" Target="../tags/tag531.xml"/><Relationship Id="rId12" Type="http://schemas.openxmlformats.org/officeDocument/2006/relationships/image" Target="../media/image1.emf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11" Type="http://schemas.openxmlformats.org/officeDocument/2006/relationships/oleObject" Target="../embeddings/oleObject39.bin"/><Relationship Id="rId5" Type="http://schemas.openxmlformats.org/officeDocument/2006/relationships/tags" Target="../tags/tag529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528.xml"/><Relationship Id="rId9" Type="http://schemas.openxmlformats.org/officeDocument/2006/relationships/tags" Target="../tags/tag53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541.xml"/><Relationship Id="rId3" Type="http://schemas.openxmlformats.org/officeDocument/2006/relationships/tags" Target="../tags/tag536.xml"/><Relationship Id="rId7" Type="http://schemas.openxmlformats.org/officeDocument/2006/relationships/tags" Target="../tags/tag540.xml"/><Relationship Id="rId12" Type="http://schemas.openxmlformats.org/officeDocument/2006/relationships/image" Target="../media/image1.emf"/><Relationship Id="rId2" Type="http://schemas.openxmlformats.org/officeDocument/2006/relationships/tags" Target="../tags/tag535.xml"/><Relationship Id="rId1" Type="http://schemas.openxmlformats.org/officeDocument/2006/relationships/tags" Target="../tags/tag534.xml"/><Relationship Id="rId6" Type="http://schemas.openxmlformats.org/officeDocument/2006/relationships/tags" Target="../tags/tag539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538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537.xml"/><Relationship Id="rId9" Type="http://schemas.openxmlformats.org/officeDocument/2006/relationships/tags" Target="../tags/tag54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550.xml"/><Relationship Id="rId3" Type="http://schemas.openxmlformats.org/officeDocument/2006/relationships/tags" Target="../tags/tag545.xml"/><Relationship Id="rId7" Type="http://schemas.openxmlformats.org/officeDocument/2006/relationships/tags" Target="../tags/tag549.xml"/><Relationship Id="rId12" Type="http://schemas.openxmlformats.org/officeDocument/2006/relationships/image" Target="../media/image1.emf"/><Relationship Id="rId2" Type="http://schemas.openxmlformats.org/officeDocument/2006/relationships/tags" Target="../tags/tag544.xml"/><Relationship Id="rId1" Type="http://schemas.openxmlformats.org/officeDocument/2006/relationships/tags" Target="../tags/tag543.xml"/><Relationship Id="rId6" Type="http://schemas.openxmlformats.org/officeDocument/2006/relationships/tags" Target="../tags/tag548.xml"/><Relationship Id="rId11" Type="http://schemas.openxmlformats.org/officeDocument/2006/relationships/oleObject" Target="../embeddings/oleObject41.bin"/><Relationship Id="rId5" Type="http://schemas.openxmlformats.org/officeDocument/2006/relationships/tags" Target="../tags/tag547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546.xml"/><Relationship Id="rId9" Type="http://schemas.openxmlformats.org/officeDocument/2006/relationships/tags" Target="../tags/tag55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559.xml"/><Relationship Id="rId3" Type="http://schemas.openxmlformats.org/officeDocument/2006/relationships/tags" Target="../tags/tag554.xml"/><Relationship Id="rId7" Type="http://schemas.openxmlformats.org/officeDocument/2006/relationships/tags" Target="../tags/tag558.xml"/><Relationship Id="rId12" Type="http://schemas.openxmlformats.org/officeDocument/2006/relationships/image" Target="../media/image11.emf"/><Relationship Id="rId2" Type="http://schemas.openxmlformats.org/officeDocument/2006/relationships/tags" Target="../tags/tag553.xml"/><Relationship Id="rId1" Type="http://schemas.openxmlformats.org/officeDocument/2006/relationships/tags" Target="../tags/tag552.xml"/><Relationship Id="rId6" Type="http://schemas.openxmlformats.org/officeDocument/2006/relationships/tags" Target="../tags/tag557.xml"/><Relationship Id="rId11" Type="http://schemas.openxmlformats.org/officeDocument/2006/relationships/oleObject" Target="../embeddings/oleObject42.bin"/><Relationship Id="rId5" Type="http://schemas.openxmlformats.org/officeDocument/2006/relationships/tags" Target="../tags/tag556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555.xml"/><Relationship Id="rId9" Type="http://schemas.openxmlformats.org/officeDocument/2006/relationships/tags" Target="../tags/tag560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568.xml"/><Relationship Id="rId3" Type="http://schemas.openxmlformats.org/officeDocument/2006/relationships/tags" Target="../tags/tag563.xml"/><Relationship Id="rId7" Type="http://schemas.openxmlformats.org/officeDocument/2006/relationships/tags" Target="../tags/tag567.xml"/><Relationship Id="rId12" Type="http://schemas.openxmlformats.org/officeDocument/2006/relationships/image" Target="../media/image1.emf"/><Relationship Id="rId2" Type="http://schemas.openxmlformats.org/officeDocument/2006/relationships/tags" Target="../tags/tag562.xml"/><Relationship Id="rId1" Type="http://schemas.openxmlformats.org/officeDocument/2006/relationships/tags" Target="../tags/tag561.xml"/><Relationship Id="rId6" Type="http://schemas.openxmlformats.org/officeDocument/2006/relationships/tags" Target="../tags/tag566.xml"/><Relationship Id="rId11" Type="http://schemas.openxmlformats.org/officeDocument/2006/relationships/oleObject" Target="../embeddings/oleObject43.bin"/><Relationship Id="rId5" Type="http://schemas.openxmlformats.org/officeDocument/2006/relationships/tags" Target="../tags/tag565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564.xml"/><Relationship Id="rId9" Type="http://schemas.openxmlformats.org/officeDocument/2006/relationships/tags" Target="../tags/tag56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572.xml"/><Relationship Id="rId2" Type="http://schemas.openxmlformats.org/officeDocument/2006/relationships/tags" Target="../tags/tag571.xml"/><Relationship Id="rId1" Type="http://schemas.openxmlformats.org/officeDocument/2006/relationships/tags" Target="../tags/tag570.x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574.xml"/><Relationship Id="rId4" Type="http://schemas.openxmlformats.org/officeDocument/2006/relationships/tags" Target="../tags/tag57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577.xml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578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tags" Target="../tags/tag581.xml"/><Relationship Id="rId7" Type="http://schemas.openxmlformats.org/officeDocument/2006/relationships/image" Target="../media/image14.png"/><Relationship Id="rId2" Type="http://schemas.openxmlformats.org/officeDocument/2006/relationships/tags" Target="../tags/tag580.xml"/><Relationship Id="rId1" Type="http://schemas.openxmlformats.org/officeDocument/2006/relationships/tags" Target="../tags/tag57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0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611.xml"/><Relationship Id="rId3" Type="http://schemas.openxmlformats.org/officeDocument/2006/relationships/tags" Target="../tags/tag606.xml"/><Relationship Id="rId7" Type="http://schemas.openxmlformats.org/officeDocument/2006/relationships/tags" Target="../tags/tag610.xml"/><Relationship Id="rId12" Type="http://schemas.openxmlformats.org/officeDocument/2006/relationships/image" Target="../media/image7.png"/><Relationship Id="rId2" Type="http://schemas.openxmlformats.org/officeDocument/2006/relationships/tags" Target="../tags/tag605.xml"/><Relationship Id="rId1" Type="http://schemas.openxmlformats.org/officeDocument/2006/relationships/tags" Target="../tags/tag604.xml"/><Relationship Id="rId6" Type="http://schemas.openxmlformats.org/officeDocument/2006/relationships/tags" Target="../tags/tag609.xml"/><Relationship Id="rId11" Type="http://schemas.openxmlformats.org/officeDocument/2006/relationships/image" Target="../media/image2.emf"/><Relationship Id="rId5" Type="http://schemas.openxmlformats.org/officeDocument/2006/relationships/tags" Target="../tags/tag608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607.xml"/><Relationship Id="rId9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619.xml"/><Relationship Id="rId3" Type="http://schemas.openxmlformats.org/officeDocument/2006/relationships/tags" Target="../tags/tag614.xml"/><Relationship Id="rId7" Type="http://schemas.openxmlformats.org/officeDocument/2006/relationships/tags" Target="../tags/tag618.xml"/><Relationship Id="rId2" Type="http://schemas.openxmlformats.org/officeDocument/2006/relationships/tags" Target="../tags/tag613.xml"/><Relationship Id="rId1" Type="http://schemas.openxmlformats.org/officeDocument/2006/relationships/tags" Target="../tags/tag612.xml"/><Relationship Id="rId6" Type="http://schemas.openxmlformats.org/officeDocument/2006/relationships/tags" Target="../tags/tag617.xml"/><Relationship Id="rId11" Type="http://schemas.openxmlformats.org/officeDocument/2006/relationships/image" Target="../media/image1.emf"/><Relationship Id="rId5" Type="http://schemas.openxmlformats.org/officeDocument/2006/relationships/tags" Target="../tags/tag616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615.xml"/><Relationship Id="rId9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622.xml"/><Relationship Id="rId2" Type="http://schemas.openxmlformats.org/officeDocument/2006/relationships/tags" Target="../tags/tag621.xml"/><Relationship Id="rId1" Type="http://schemas.openxmlformats.org/officeDocument/2006/relationships/tags" Target="../tags/tag620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62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626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627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tags" Target="../tags/tag630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629.xml"/><Relationship Id="rId1" Type="http://schemas.openxmlformats.org/officeDocument/2006/relationships/tags" Target="../tags/tag628.xml"/><Relationship Id="rId6" Type="http://schemas.openxmlformats.org/officeDocument/2006/relationships/tags" Target="../tags/tag633.xml"/><Relationship Id="rId5" Type="http://schemas.openxmlformats.org/officeDocument/2006/relationships/tags" Target="../tags/tag632.xml"/><Relationship Id="rId4" Type="http://schemas.openxmlformats.org/officeDocument/2006/relationships/tags" Target="../tags/tag631.xml"/><Relationship Id="rId9" Type="http://schemas.openxmlformats.org/officeDocument/2006/relationships/image" Target="../media/image8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636.xml"/><Relationship Id="rId7" Type="http://schemas.openxmlformats.org/officeDocument/2006/relationships/tags" Target="../tags/tag640.xml"/><Relationship Id="rId2" Type="http://schemas.openxmlformats.org/officeDocument/2006/relationships/tags" Target="../tags/tag635.xml"/><Relationship Id="rId1" Type="http://schemas.openxmlformats.org/officeDocument/2006/relationships/tags" Target="../tags/tag634.xml"/><Relationship Id="rId6" Type="http://schemas.openxmlformats.org/officeDocument/2006/relationships/tags" Target="../tags/tag639.xml"/><Relationship Id="rId5" Type="http://schemas.openxmlformats.org/officeDocument/2006/relationships/tags" Target="../tags/tag638.xml"/><Relationship Id="rId10" Type="http://schemas.openxmlformats.org/officeDocument/2006/relationships/image" Target="../media/image8.emf"/><Relationship Id="rId4" Type="http://schemas.openxmlformats.org/officeDocument/2006/relationships/tags" Target="../tags/tag637.xml"/><Relationship Id="rId9" Type="http://schemas.openxmlformats.org/officeDocument/2006/relationships/oleObject" Target="../embeddings/oleObject49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648.xml"/><Relationship Id="rId3" Type="http://schemas.openxmlformats.org/officeDocument/2006/relationships/tags" Target="../tags/tag643.xml"/><Relationship Id="rId7" Type="http://schemas.openxmlformats.org/officeDocument/2006/relationships/tags" Target="../tags/tag647.xml"/><Relationship Id="rId12" Type="http://schemas.openxmlformats.org/officeDocument/2006/relationships/image" Target="../media/image1.emf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tags" Target="../tags/tag646.xml"/><Relationship Id="rId11" Type="http://schemas.openxmlformats.org/officeDocument/2006/relationships/oleObject" Target="../embeddings/oleObject50.bin"/><Relationship Id="rId5" Type="http://schemas.openxmlformats.org/officeDocument/2006/relationships/tags" Target="../tags/tag645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644.xml"/><Relationship Id="rId9" Type="http://schemas.openxmlformats.org/officeDocument/2006/relationships/tags" Target="../tags/tag649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657.xml"/><Relationship Id="rId3" Type="http://schemas.openxmlformats.org/officeDocument/2006/relationships/tags" Target="../tags/tag652.xml"/><Relationship Id="rId7" Type="http://schemas.openxmlformats.org/officeDocument/2006/relationships/tags" Target="../tags/tag656.xml"/><Relationship Id="rId12" Type="http://schemas.openxmlformats.org/officeDocument/2006/relationships/image" Target="../media/image1.emf"/><Relationship Id="rId2" Type="http://schemas.openxmlformats.org/officeDocument/2006/relationships/tags" Target="../tags/tag651.xml"/><Relationship Id="rId1" Type="http://schemas.openxmlformats.org/officeDocument/2006/relationships/tags" Target="../tags/tag650.xml"/><Relationship Id="rId6" Type="http://schemas.openxmlformats.org/officeDocument/2006/relationships/tags" Target="../tags/tag655.xml"/><Relationship Id="rId11" Type="http://schemas.openxmlformats.org/officeDocument/2006/relationships/oleObject" Target="../embeddings/oleObject51.bin"/><Relationship Id="rId5" Type="http://schemas.openxmlformats.org/officeDocument/2006/relationships/tags" Target="../tags/tag654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653.xml"/><Relationship Id="rId9" Type="http://schemas.openxmlformats.org/officeDocument/2006/relationships/tags" Target="../tags/tag658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666.xml"/><Relationship Id="rId13" Type="http://schemas.openxmlformats.org/officeDocument/2006/relationships/image" Target="../media/image1.emf"/><Relationship Id="rId3" Type="http://schemas.openxmlformats.org/officeDocument/2006/relationships/tags" Target="../tags/tag661.xml"/><Relationship Id="rId7" Type="http://schemas.openxmlformats.org/officeDocument/2006/relationships/tags" Target="../tags/tag665.xml"/><Relationship Id="rId12" Type="http://schemas.openxmlformats.org/officeDocument/2006/relationships/oleObject" Target="../embeddings/oleObject52.bin"/><Relationship Id="rId2" Type="http://schemas.openxmlformats.org/officeDocument/2006/relationships/tags" Target="../tags/tag660.xml"/><Relationship Id="rId1" Type="http://schemas.openxmlformats.org/officeDocument/2006/relationships/tags" Target="../tags/tag659.xml"/><Relationship Id="rId6" Type="http://schemas.openxmlformats.org/officeDocument/2006/relationships/tags" Target="../tags/tag664.xml"/><Relationship Id="rId11" Type="http://schemas.openxmlformats.org/officeDocument/2006/relationships/slideMaster" Target="../slideMasters/slideMaster11.xml"/><Relationship Id="rId5" Type="http://schemas.openxmlformats.org/officeDocument/2006/relationships/tags" Target="../tags/tag663.xml"/><Relationship Id="rId10" Type="http://schemas.openxmlformats.org/officeDocument/2006/relationships/tags" Target="../tags/tag668.xml"/><Relationship Id="rId4" Type="http://schemas.openxmlformats.org/officeDocument/2006/relationships/tags" Target="../tags/tag662.xml"/><Relationship Id="rId9" Type="http://schemas.openxmlformats.org/officeDocument/2006/relationships/tags" Target="../tags/tag667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676.xml"/><Relationship Id="rId13" Type="http://schemas.openxmlformats.org/officeDocument/2006/relationships/image" Target="../media/image11.emf"/><Relationship Id="rId3" Type="http://schemas.openxmlformats.org/officeDocument/2006/relationships/tags" Target="../tags/tag671.xml"/><Relationship Id="rId7" Type="http://schemas.openxmlformats.org/officeDocument/2006/relationships/tags" Target="../tags/tag675.xml"/><Relationship Id="rId12" Type="http://schemas.openxmlformats.org/officeDocument/2006/relationships/oleObject" Target="../embeddings/oleObject53.bin"/><Relationship Id="rId2" Type="http://schemas.openxmlformats.org/officeDocument/2006/relationships/tags" Target="../tags/tag670.xml"/><Relationship Id="rId1" Type="http://schemas.openxmlformats.org/officeDocument/2006/relationships/tags" Target="../tags/tag669.xml"/><Relationship Id="rId6" Type="http://schemas.openxmlformats.org/officeDocument/2006/relationships/tags" Target="../tags/tag674.xml"/><Relationship Id="rId11" Type="http://schemas.openxmlformats.org/officeDocument/2006/relationships/slideMaster" Target="../slideMasters/slideMaster11.xml"/><Relationship Id="rId5" Type="http://schemas.openxmlformats.org/officeDocument/2006/relationships/tags" Target="../tags/tag673.xml"/><Relationship Id="rId10" Type="http://schemas.openxmlformats.org/officeDocument/2006/relationships/tags" Target="../tags/tag678.xml"/><Relationship Id="rId4" Type="http://schemas.openxmlformats.org/officeDocument/2006/relationships/tags" Target="../tags/tag672.xml"/><Relationship Id="rId9" Type="http://schemas.openxmlformats.org/officeDocument/2006/relationships/tags" Target="../tags/tag67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4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686.xml"/><Relationship Id="rId3" Type="http://schemas.openxmlformats.org/officeDocument/2006/relationships/tags" Target="../tags/tag681.xml"/><Relationship Id="rId7" Type="http://schemas.openxmlformats.org/officeDocument/2006/relationships/tags" Target="../tags/tag685.xml"/><Relationship Id="rId12" Type="http://schemas.openxmlformats.org/officeDocument/2006/relationships/image" Target="../media/image1.emf"/><Relationship Id="rId2" Type="http://schemas.openxmlformats.org/officeDocument/2006/relationships/tags" Target="../tags/tag680.xml"/><Relationship Id="rId1" Type="http://schemas.openxmlformats.org/officeDocument/2006/relationships/tags" Target="../tags/tag679.xml"/><Relationship Id="rId6" Type="http://schemas.openxmlformats.org/officeDocument/2006/relationships/tags" Target="../tags/tag684.xml"/><Relationship Id="rId11" Type="http://schemas.openxmlformats.org/officeDocument/2006/relationships/oleObject" Target="../embeddings/oleObject54.bin"/><Relationship Id="rId5" Type="http://schemas.openxmlformats.org/officeDocument/2006/relationships/tags" Target="../tags/tag683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682.xml"/><Relationship Id="rId9" Type="http://schemas.openxmlformats.org/officeDocument/2006/relationships/tags" Target="../tags/tag6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690.xml"/><Relationship Id="rId2" Type="http://schemas.openxmlformats.org/officeDocument/2006/relationships/tags" Target="../tags/tag689.xml"/><Relationship Id="rId1" Type="http://schemas.openxmlformats.org/officeDocument/2006/relationships/tags" Target="../tags/tag688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692.xml"/><Relationship Id="rId4" Type="http://schemas.openxmlformats.org/officeDocument/2006/relationships/tags" Target="../tags/tag69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695.xml"/><Relationship Id="rId2" Type="http://schemas.openxmlformats.org/officeDocument/2006/relationships/tags" Target="../tags/tag694.xml"/><Relationship Id="rId1" Type="http://schemas.openxmlformats.org/officeDocument/2006/relationships/tags" Target="../tags/tag693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697.xml"/><Relationship Id="rId4" Type="http://schemas.openxmlformats.org/officeDocument/2006/relationships/tags" Target="../tags/tag69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00.xml"/><Relationship Id="rId7" Type="http://schemas.openxmlformats.org/officeDocument/2006/relationships/image" Target="../media/image10.png"/><Relationship Id="rId2" Type="http://schemas.openxmlformats.org/officeDocument/2006/relationships/tags" Target="../tags/tag699.xml"/><Relationship Id="rId1" Type="http://schemas.openxmlformats.org/officeDocument/2006/relationships/tags" Target="../tags/tag69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728.xml"/><Relationship Id="rId13" Type="http://schemas.openxmlformats.org/officeDocument/2006/relationships/oleObject" Target="../embeddings/oleObject57.bin"/><Relationship Id="rId3" Type="http://schemas.openxmlformats.org/officeDocument/2006/relationships/tags" Target="../tags/tag723.xml"/><Relationship Id="rId7" Type="http://schemas.openxmlformats.org/officeDocument/2006/relationships/tags" Target="../tags/tag727.xml"/><Relationship Id="rId12" Type="http://schemas.openxmlformats.org/officeDocument/2006/relationships/image" Target="../media/image17.svg"/><Relationship Id="rId2" Type="http://schemas.openxmlformats.org/officeDocument/2006/relationships/tags" Target="../tags/tag722.xml"/><Relationship Id="rId1" Type="http://schemas.openxmlformats.org/officeDocument/2006/relationships/tags" Target="../tags/tag721.xml"/><Relationship Id="rId6" Type="http://schemas.openxmlformats.org/officeDocument/2006/relationships/tags" Target="../tags/tag726.xml"/><Relationship Id="rId11" Type="http://schemas.openxmlformats.org/officeDocument/2006/relationships/image" Target="../media/image4.png"/><Relationship Id="rId5" Type="http://schemas.openxmlformats.org/officeDocument/2006/relationships/tags" Target="../tags/tag725.xml"/><Relationship Id="rId10" Type="http://schemas.openxmlformats.org/officeDocument/2006/relationships/image" Target="../media/image16.jpg"/><Relationship Id="rId4" Type="http://schemas.openxmlformats.org/officeDocument/2006/relationships/tags" Target="../tags/tag724.xml"/><Relationship Id="rId9" Type="http://schemas.openxmlformats.org/officeDocument/2006/relationships/slideMaster" Target="../slideMasters/slideMaster12.xml"/><Relationship Id="rId14" Type="http://schemas.openxmlformats.org/officeDocument/2006/relationships/image" Target="../media/image9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731.xml"/><Relationship Id="rId7" Type="http://schemas.openxmlformats.org/officeDocument/2006/relationships/tags" Target="../tags/tag735.xml"/><Relationship Id="rId2" Type="http://schemas.openxmlformats.org/officeDocument/2006/relationships/tags" Target="../tags/tag730.xml"/><Relationship Id="rId1" Type="http://schemas.openxmlformats.org/officeDocument/2006/relationships/tags" Target="../tags/tag729.xml"/><Relationship Id="rId6" Type="http://schemas.openxmlformats.org/officeDocument/2006/relationships/tags" Target="../tags/tag734.xml"/><Relationship Id="rId5" Type="http://schemas.openxmlformats.org/officeDocument/2006/relationships/tags" Target="../tags/tag733.xml"/><Relationship Id="rId10" Type="http://schemas.openxmlformats.org/officeDocument/2006/relationships/image" Target="../media/image1.emf"/><Relationship Id="rId4" Type="http://schemas.openxmlformats.org/officeDocument/2006/relationships/tags" Target="../tags/tag732.xml"/><Relationship Id="rId9" Type="http://schemas.openxmlformats.org/officeDocument/2006/relationships/oleObject" Target="../embeddings/oleObject5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738.xml"/><Relationship Id="rId2" Type="http://schemas.openxmlformats.org/officeDocument/2006/relationships/tags" Target="../tags/tag737.xml"/><Relationship Id="rId1" Type="http://schemas.openxmlformats.org/officeDocument/2006/relationships/tags" Target="../tags/tag736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73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742.xml"/><Relationship Id="rId2" Type="http://schemas.openxmlformats.org/officeDocument/2006/relationships/tags" Target="../tags/tag741.xml"/><Relationship Id="rId1" Type="http://schemas.openxmlformats.org/officeDocument/2006/relationships/tags" Target="../tags/tag740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743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9.bin"/><Relationship Id="rId3" Type="http://schemas.openxmlformats.org/officeDocument/2006/relationships/tags" Target="../tags/tag746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745.xml"/><Relationship Id="rId1" Type="http://schemas.openxmlformats.org/officeDocument/2006/relationships/tags" Target="../tags/tag744.xml"/><Relationship Id="rId6" Type="http://schemas.openxmlformats.org/officeDocument/2006/relationships/tags" Target="../tags/tag749.xml"/><Relationship Id="rId5" Type="http://schemas.openxmlformats.org/officeDocument/2006/relationships/tags" Target="../tags/tag748.xml"/><Relationship Id="rId4" Type="http://schemas.openxmlformats.org/officeDocument/2006/relationships/tags" Target="../tags/tag747.xml"/><Relationship Id="rId9" Type="http://schemas.openxmlformats.org/officeDocument/2006/relationships/image" Target="../media/image8.emf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752.xml"/><Relationship Id="rId7" Type="http://schemas.openxmlformats.org/officeDocument/2006/relationships/tags" Target="../tags/tag756.xml"/><Relationship Id="rId2" Type="http://schemas.openxmlformats.org/officeDocument/2006/relationships/tags" Target="../tags/tag751.xml"/><Relationship Id="rId1" Type="http://schemas.openxmlformats.org/officeDocument/2006/relationships/tags" Target="../tags/tag750.xml"/><Relationship Id="rId6" Type="http://schemas.openxmlformats.org/officeDocument/2006/relationships/tags" Target="../tags/tag755.xml"/><Relationship Id="rId5" Type="http://schemas.openxmlformats.org/officeDocument/2006/relationships/tags" Target="../tags/tag754.xml"/><Relationship Id="rId10" Type="http://schemas.openxmlformats.org/officeDocument/2006/relationships/image" Target="../media/image8.emf"/><Relationship Id="rId4" Type="http://schemas.openxmlformats.org/officeDocument/2006/relationships/tags" Target="../tags/tag753.xml"/><Relationship Id="rId9" Type="http://schemas.openxmlformats.org/officeDocument/2006/relationships/oleObject" Target="../embeddings/oleObject60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764.xml"/><Relationship Id="rId3" Type="http://schemas.openxmlformats.org/officeDocument/2006/relationships/tags" Target="../tags/tag759.xml"/><Relationship Id="rId7" Type="http://schemas.openxmlformats.org/officeDocument/2006/relationships/tags" Target="../tags/tag763.xml"/><Relationship Id="rId12" Type="http://schemas.openxmlformats.org/officeDocument/2006/relationships/image" Target="../media/image1.emf"/><Relationship Id="rId2" Type="http://schemas.openxmlformats.org/officeDocument/2006/relationships/tags" Target="../tags/tag758.xml"/><Relationship Id="rId1" Type="http://schemas.openxmlformats.org/officeDocument/2006/relationships/tags" Target="../tags/tag757.xml"/><Relationship Id="rId6" Type="http://schemas.openxmlformats.org/officeDocument/2006/relationships/tags" Target="../tags/tag762.xml"/><Relationship Id="rId11" Type="http://schemas.openxmlformats.org/officeDocument/2006/relationships/oleObject" Target="../embeddings/oleObject61.bin"/><Relationship Id="rId5" Type="http://schemas.openxmlformats.org/officeDocument/2006/relationships/tags" Target="../tags/tag761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760.xml"/><Relationship Id="rId9" Type="http://schemas.openxmlformats.org/officeDocument/2006/relationships/tags" Target="../tags/tag765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773.xml"/><Relationship Id="rId3" Type="http://schemas.openxmlformats.org/officeDocument/2006/relationships/tags" Target="../tags/tag768.xml"/><Relationship Id="rId7" Type="http://schemas.openxmlformats.org/officeDocument/2006/relationships/tags" Target="../tags/tag772.xml"/><Relationship Id="rId12" Type="http://schemas.openxmlformats.org/officeDocument/2006/relationships/image" Target="../media/image1.emf"/><Relationship Id="rId2" Type="http://schemas.openxmlformats.org/officeDocument/2006/relationships/tags" Target="../tags/tag767.xml"/><Relationship Id="rId1" Type="http://schemas.openxmlformats.org/officeDocument/2006/relationships/tags" Target="../tags/tag766.xml"/><Relationship Id="rId6" Type="http://schemas.openxmlformats.org/officeDocument/2006/relationships/tags" Target="../tags/tag771.xml"/><Relationship Id="rId11" Type="http://schemas.openxmlformats.org/officeDocument/2006/relationships/oleObject" Target="../embeddings/oleObject62.bin"/><Relationship Id="rId5" Type="http://schemas.openxmlformats.org/officeDocument/2006/relationships/tags" Target="../tags/tag770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769.xml"/><Relationship Id="rId9" Type="http://schemas.openxmlformats.org/officeDocument/2006/relationships/tags" Target="../tags/tag77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782.xml"/><Relationship Id="rId3" Type="http://schemas.openxmlformats.org/officeDocument/2006/relationships/tags" Target="../tags/tag777.xml"/><Relationship Id="rId7" Type="http://schemas.openxmlformats.org/officeDocument/2006/relationships/tags" Target="../tags/tag781.xml"/><Relationship Id="rId12" Type="http://schemas.openxmlformats.org/officeDocument/2006/relationships/image" Target="../media/image1.emf"/><Relationship Id="rId2" Type="http://schemas.openxmlformats.org/officeDocument/2006/relationships/tags" Target="../tags/tag776.xml"/><Relationship Id="rId1" Type="http://schemas.openxmlformats.org/officeDocument/2006/relationships/tags" Target="../tags/tag775.xml"/><Relationship Id="rId6" Type="http://schemas.openxmlformats.org/officeDocument/2006/relationships/tags" Target="../tags/tag780.xml"/><Relationship Id="rId11" Type="http://schemas.openxmlformats.org/officeDocument/2006/relationships/oleObject" Target="../embeddings/oleObject63.bin"/><Relationship Id="rId5" Type="http://schemas.openxmlformats.org/officeDocument/2006/relationships/tags" Target="../tags/tag779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778.xml"/><Relationship Id="rId9" Type="http://schemas.openxmlformats.org/officeDocument/2006/relationships/tags" Target="../tags/tag783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791.xml"/><Relationship Id="rId3" Type="http://schemas.openxmlformats.org/officeDocument/2006/relationships/tags" Target="../tags/tag786.xml"/><Relationship Id="rId7" Type="http://schemas.openxmlformats.org/officeDocument/2006/relationships/tags" Target="../tags/tag790.xml"/><Relationship Id="rId12" Type="http://schemas.openxmlformats.org/officeDocument/2006/relationships/image" Target="../media/image11.emf"/><Relationship Id="rId2" Type="http://schemas.openxmlformats.org/officeDocument/2006/relationships/tags" Target="../tags/tag785.xml"/><Relationship Id="rId1" Type="http://schemas.openxmlformats.org/officeDocument/2006/relationships/tags" Target="../tags/tag784.xml"/><Relationship Id="rId6" Type="http://schemas.openxmlformats.org/officeDocument/2006/relationships/tags" Target="../tags/tag789.xml"/><Relationship Id="rId11" Type="http://schemas.openxmlformats.org/officeDocument/2006/relationships/oleObject" Target="../embeddings/oleObject64.bin"/><Relationship Id="rId5" Type="http://schemas.openxmlformats.org/officeDocument/2006/relationships/tags" Target="../tags/tag788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787.xml"/><Relationship Id="rId9" Type="http://schemas.openxmlformats.org/officeDocument/2006/relationships/tags" Target="../tags/tag792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800.xml"/><Relationship Id="rId3" Type="http://schemas.openxmlformats.org/officeDocument/2006/relationships/tags" Target="../tags/tag795.xml"/><Relationship Id="rId7" Type="http://schemas.openxmlformats.org/officeDocument/2006/relationships/tags" Target="../tags/tag799.xml"/><Relationship Id="rId12" Type="http://schemas.openxmlformats.org/officeDocument/2006/relationships/image" Target="../media/image1.emf"/><Relationship Id="rId2" Type="http://schemas.openxmlformats.org/officeDocument/2006/relationships/tags" Target="../tags/tag794.xml"/><Relationship Id="rId1" Type="http://schemas.openxmlformats.org/officeDocument/2006/relationships/tags" Target="../tags/tag793.xml"/><Relationship Id="rId6" Type="http://schemas.openxmlformats.org/officeDocument/2006/relationships/tags" Target="../tags/tag798.xml"/><Relationship Id="rId11" Type="http://schemas.openxmlformats.org/officeDocument/2006/relationships/oleObject" Target="../embeddings/oleObject65.bin"/><Relationship Id="rId5" Type="http://schemas.openxmlformats.org/officeDocument/2006/relationships/tags" Target="../tags/tag797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796.xml"/><Relationship Id="rId9" Type="http://schemas.openxmlformats.org/officeDocument/2006/relationships/tags" Target="../tags/tag80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804.xml"/><Relationship Id="rId2" Type="http://schemas.openxmlformats.org/officeDocument/2006/relationships/tags" Target="../tags/tag803.xml"/><Relationship Id="rId1" Type="http://schemas.openxmlformats.org/officeDocument/2006/relationships/tags" Target="../tags/tag802.x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806.xml"/><Relationship Id="rId4" Type="http://schemas.openxmlformats.org/officeDocument/2006/relationships/tags" Target="../tags/tag80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809.xml"/><Relationship Id="rId2" Type="http://schemas.openxmlformats.org/officeDocument/2006/relationships/tags" Target="../tags/tag808.xml"/><Relationship Id="rId1" Type="http://schemas.openxmlformats.org/officeDocument/2006/relationships/tags" Target="../tags/tag807.xml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810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12.xml"/><Relationship Id="rId7" Type="http://schemas.openxmlformats.org/officeDocument/2006/relationships/oleObject" Target="../embeddings/oleObject66.bin"/><Relationship Id="rId2" Type="http://schemas.openxmlformats.org/officeDocument/2006/relationships/tags" Target="../tags/tag812.xml"/><Relationship Id="rId1" Type="http://schemas.openxmlformats.org/officeDocument/2006/relationships/tags" Target="../tags/tag811.xml"/><Relationship Id="rId6" Type="http://schemas.openxmlformats.org/officeDocument/2006/relationships/image" Target="../media/image18.svg"/><Relationship Id="rId5" Type="http://schemas.openxmlformats.org/officeDocument/2006/relationships/image" Target="../media/image14.png"/><Relationship Id="rId4" Type="http://schemas.openxmlformats.org/officeDocument/2006/relationships/image" Target="../media/image16.jp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1.emf"/><Relationship Id="rId5" Type="http://schemas.openxmlformats.org/officeDocument/2006/relationships/tags" Target="../tags/tag131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30.xml"/><Relationship Id="rId9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10" Type="http://schemas.openxmlformats.org/officeDocument/2006/relationships/image" Target="../media/image1.emf"/><Relationship Id="rId4" Type="http://schemas.openxmlformats.org/officeDocument/2006/relationships/tags" Target="../tags/tag160.xml"/><Relationship Id="rId9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123643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532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755061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6506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5949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03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SlideLogoText" hidden="1">
            <a:extLst>
              <a:ext uri="{FF2B5EF4-FFF2-40B4-BE49-F238E27FC236}">
                <a16:creationId xmlns:a16="http://schemas.microsoft.com/office/drawing/2014/main" id="{2B6BCE7D-CD41-49F7-A6EE-F305DDA1C649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black">
          <a:xfrm>
            <a:off x="9975794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  <a:endParaRPr lang="en-US" sz="900" kern="12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4CC66B1-D7A4-59AF-673A-17663B15FE92}"/>
              </a:ext>
            </a:extLst>
          </p:cNvPr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black">
          <a:xfrm>
            <a:off x="9850583" y="6498754"/>
            <a:ext cx="178744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    </a:t>
            </a: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5503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</a:p>
        </p:txBody>
      </p:sp>
      <p:pic>
        <p:nvPicPr>
          <p:cNvPr id="5" name="Partnership" hidden="1">
            <a:extLst>
              <a:ext uri="{FF2B5EF4-FFF2-40B4-BE49-F238E27FC236}">
                <a16:creationId xmlns:a16="http://schemas.microsoft.com/office/drawing/2014/main" id="{A8772CBB-049B-42D8-B10E-A3ABB7480ED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2417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650730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908374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631415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091589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400154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4DBB21-2C1D-B540-610D-659EF31E8964}"/>
              </a:ext>
            </a:extLst>
          </p:cNvPr>
          <p:cNvSpPr txBox="1"/>
          <p:nvPr userDrawn="1"/>
        </p:nvSpPr>
        <p:spPr>
          <a:xfrm>
            <a:off x="7368032" y="6499776"/>
            <a:ext cx="4064000" cy="1384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  <a:sym typeface="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40524771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4044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077580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756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042953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189257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11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3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235113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053145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3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351197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42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651610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9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2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059754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044825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412776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9975794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F485C53-E1E0-F6CD-2CE3-587688841F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3790289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 hidden="1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12682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165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992507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90EB15-D75F-4F5E-BBB8-8DE6CB8DB3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74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90EB15-D75F-4F5E-BBB8-8DE6CB8DB3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F19E486B-3529-421D-A0CD-481FC915A2A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6" y="0"/>
            <a:ext cx="12192002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60631D5-D6B4-4F95-B2B5-EEA7BA78B56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B81EDBAF-9B68-4EA0-997C-BBD95B347F5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 dirty="0"/>
              <a:t>Source: ...</a:t>
            </a:r>
          </a:p>
        </p:txBody>
      </p:sp>
      <p:sp>
        <p:nvSpPr>
          <p:cNvPr id="10" name="SlideLogoText" hidden="1">
            <a:extLst>
              <a:ext uri="{FF2B5EF4-FFF2-40B4-BE49-F238E27FC236}">
                <a16:creationId xmlns:a16="http://schemas.microsoft.com/office/drawing/2014/main" id="{6E1FBC9D-9AAB-45C4-A052-0998BD53DF5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1816491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64891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523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094528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47D57A-065E-0202-56E0-93E440505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1032"/>
          <a:stretch/>
        </p:blipFill>
        <p:spPr>
          <a:xfrm>
            <a:off x="-1" y="-1"/>
            <a:ext cx="12192001" cy="6862287"/>
          </a:xfrm>
          <a:prstGeom prst="rect">
            <a:avLst/>
          </a:prstGeom>
        </p:spPr>
      </p:pic>
      <p:sp>
        <p:nvSpPr>
          <p:cNvPr id="7" name="2. Slide Title">
            <a:extLst>
              <a:ext uri="{FF2B5EF4-FFF2-40B4-BE49-F238E27FC236}">
                <a16:creationId xmlns:a16="http://schemas.microsoft.com/office/drawing/2014/main" id="{15575AB9-0656-43EC-81C2-738046380C8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0563A9E3-5661-4F56-A37C-5FA557E5C38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588745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 hidden="1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CA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CA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33CF2A6F-D7D2-1602-ECB7-1353B7429F79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black">
          <a:xfrm>
            <a:off x="9975794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1259738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77002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973828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6296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artnership" hidden="1">
            <a:extLst>
              <a:ext uri="{FF2B5EF4-FFF2-40B4-BE49-F238E27FC236}">
                <a16:creationId xmlns:a16="http://schemas.microsoft.com/office/drawing/2014/main" id="{BDA4DCCB-169A-4551-8494-D3074D08D79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CA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CA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SlideLogoText" hidden="1">
            <a:extLst>
              <a:ext uri="{FF2B5EF4-FFF2-40B4-BE49-F238E27FC236}">
                <a16:creationId xmlns:a16="http://schemas.microsoft.com/office/drawing/2014/main" id="{12F32667-DA22-4F34-BF59-E390501E9214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0A84269-9A49-469B-BD81-1642D01B462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1" y="446768"/>
            <a:ext cx="2102359" cy="531050"/>
          </a:xfrm>
          <a:prstGeom prst="rect">
            <a:avLst/>
          </a:prstGeom>
          <a:solidFill>
            <a:srgbClr val="051C2C"/>
          </a:solidFill>
        </p:spPr>
      </p:pic>
    </p:spTree>
    <p:extLst>
      <p:ext uri="{BB962C8B-B14F-4D97-AF65-F5344CB8AC3E}">
        <p14:creationId xmlns:p14="http://schemas.microsoft.com/office/powerpoint/2010/main" val="16566177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965624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122445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494022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917422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9615830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86635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17841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123183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087011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artnership" hidden="1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251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942748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CA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CA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7" name="Partnership" hidden="1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0226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632EA5E5-E5AF-B27A-13F6-33F4378F95A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black">
          <a:xfrm>
            <a:off x="9975794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E53916C-A519-FF96-7FCB-DDC77A747D6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0600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269057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689578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43845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271748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115153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942528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054232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72" imgH="588" progId="TCLayout.ActiveDocument.1">
                  <p:embed/>
                </p:oleObj>
              </mc:Choice>
              <mc:Fallback>
                <p:oleObj name="think-cell Slide" r:id="rId12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0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4235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856825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844983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203310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686E3D87-EE40-65B4-1DD3-5A68442F659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9975794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FF6DF775-9F15-17C5-BF3D-49BCBEF6150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85673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 hidden="1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08994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ackground">
            <a:extLst>
              <a:ext uri="{FF2B5EF4-FFF2-40B4-BE49-F238E27FC236}">
                <a16:creationId xmlns:a16="http://schemas.microsoft.com/office/drawing/2014/main" id="{FEE25493-E819-0E44-D2AC-2343DCBD531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artnership">
            <a:extLst>
              <a:ext uri="{FF2B5EF4-FFF2-40B4-BE49-F238E27FC236}">
                <a16:creationId xmlns:a16="http://schemas.microsoft.com/office/drawing/2014/main" id="{58B9A608-43EC-17F6-9B78-258C0CA0A80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C99625-451E-4111-AFFF-59B1EAC7D1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099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C99625-451E-4111-AFFF-59B1EAC7D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56CDAB-CA9A-43EA-9731-D68ACEE47C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it-IT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6" name="logoimage">
            <a:extLst>
              <a:ext uri="{FF2B5EF4-FFF2-40B4-BE49-F238E27FC236}">
                <a16:creationId xmlns:a16="http://schemas.microsoft.com/office/drawing/2014/main" id="{70C1EF48-0C89-0958-918F-5DC6A8426AC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 userDrawn="1"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19" name="Disclaimer-Italian (Italy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it-IT" sz="750">
                <a:solidFill>
                  <a:schemeClr val="tx2"/>
                </a:solidFill>
                <a:latin typeface="+mn-lt"/>
              </a:rPr>
              <a:t>RISERVATO ED ESCLUSIVO | © 2024 McKinsey &amp; Company.</a:t>
            </a:r>
          </a:p>
          <a:p>
            <a:pPr defTabSz="804863" eaLnBrk="0" hangingPunct="0"/>
            <a:r>
              <a:rPr lang="it-IT" sz="750">
                <a:solidFill>
                  <a:schemeClr val="tx2"/>
                </a:solidFill>
                <a:latin typeface="+mn-lt"/>
              </a:rPr>
              <a:t>il presente documento è destinato esclusivamente ad uso interno. È severamente vietato qualsiasi utilizzo del presente documento senza specifica autorizzazione di McKinsey &amp; Company. Tutti i diritti sonno riservati</a:t>
            </a:r>
            <a:endParaRPr lang="it-IT" sz="75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33122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262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FFB187DD-F064-49DA-8DD6-3CE2A3A086D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45F24A0-E1E5-4CEF-AAE5-F2C8B392CA86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it-IT" sz="1600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FCF4E3F-783E-400E-BD81-0CA854D3CE4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1157668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55DBC78B-88B8-43F6-BCE1-7874113155D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667177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5D9E4AB5-0E2B-409B-8FCC-CAB012B1AA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096591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FA0375-D84E-4F98-814F-2E8097061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00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FA0375-D84E-4F98-814F-2E8097061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EC24333-0504-41AA-98B2-378A074C9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it-IT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BDCF0DB-75C4-4002-BCC8-47678D66A9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6463628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3E892C-6763-407B-82D7-D647149C4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676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3E892C-6763-407B-82D7-D647149C4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6C9B1A6-9C70-43C3-A5FE-4FAF8D797B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it-IT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it-IT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950F413-0AED-4FE7-B055-F5A279CFBF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88337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5919B4-CBF4-A7D0-0F8D-74A05E879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61EB3A-6A68-E6C4-3574-0EAEC33FBC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0363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059149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51D41A4-E6B3-4D0C-A699-AB99EB50F8A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7683674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059149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F852C653-273D-4533-A8C9-1D2F00B14C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56038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86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059149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24FC89B9-27D6-473D-93DF-880226F4C89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63337359-D43D-43A2-84F1-8094F8635ABB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it-IT" sz="1600" dirty="0"/>
          </a:p>
        </p:txBody>
      </p:sp>
      <p:sp>
        <p:nvSpPr>
          <p:cNvPr id="25" name="1. On-page tracker">
            <a:extLst>
              <a:ext uri="{FF2B5EF4-FFF2-40B4-BE49-F238E27FC236}">
                <a16:creationId xmlns:a16="http://schemas.microsoft.com/office/drawing/2014/main" id="{E56FBB8C-4E9C-4207-9A79-5E0466E3B3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717718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4680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059149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BF892DF2-A615-4A13-AE28-F230ADABF81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32B704E5-A4ED-4790-BA8A-8088FD242299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it-IT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00428EFC-1C36-4D46-8B4A-89934D8F09F2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389131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190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059149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nte: …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9652696F-EFD9-43A8-9378-D6B1AEECB1C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CED2DA29-6CC2-4955-8428-7042ACF53F47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it-IT" sz="1600" dirty="0"/>
          </a:p>
        </p:txBody>
      </p:sp>
      <p:sp>
        <p:nvSpPr>
          <p:cNvPr id="29" name="1. On-page tracker">
            <a:extLst>
              <a:ext uri="{FF2B5EF4-FFF2-40B4-BE49-F238E27FC236}">
                <a16:creationId xmlns:a16="http://schemas.microsoft.com/office/drawing/2014/main" id="{D9B6A5BF-7878-4706-857C-F1D3AF1152D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1" y="78768"/>
            <a:ext cx="2520450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37474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059149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DC87208-3CBB-488C-BB06-AA468CE05C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472884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059149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t-IT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CE455DE-0881-4DFC-927A-9D0EF661A4A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it-IT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41265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8E1A16BC-C04A-C0AC-3AE6-6787C006B7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artnership">
            <a:extLst>
              <a:ext uri="{FF2B5EF4-FFF2-40B4-BE49-F238E27FC236}">
                <a16:creationId xmlns:a16="http://schemas.microsoft.com/office/drawing/2014/main" id="{4F5B65D1-D513-FF5A-8C70-3ACA010C9E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9B2432-6AD6-42B1-B21E-ECDED56A5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179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9B2432-6AD6-42B1-B21E-ECDED56A5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it-IT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it-IT" sz="800" dirty="0"/>
              <a:t>Fonte: …</a:t>
            </a:r>
          </a:p>
        </p:txBody>
      </p:sp>
    </p:spTree>
    <p:extLst>
      <p:ext uri="{BB962C8B-B14F-4D97-AF65-F5344CB8AC3E}">
        <p14:creationId xmlns:p14="http://schemas.microsoft.com/office/powerpoint/2010/main" val="326445666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8DF1E2-DA66-6F4E-082C-3E7267E72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BEED17-C5CE-71F4-9C6F-467ECC7864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7ADDCF-EEA6-490E-B367-8463221BDDC4}" type="datetimeFigureOut">
              <a:rPr lang="bg-BG" smtClean="0"/>
              <a:t>22.5.2024 г.</a:t>
            </a:fld>
            <a:endParaRPr lang="bg-B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1D50B8-781E-E67C-6DA4-C8686308A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5B037C-1E4C-D7A3-5617-E88A50ED4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12F08-8654-4863-A27E-1987A7EB3717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2846115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AE24CC1-08F4-A057-6868-93D437B520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025" y="470539"/>
            <a:ext cx="8864339" cy="59095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D4BA3FB-2A2F-0491-3A02-3D4021583964}"/>
              </a:ext>
            </a:extLst>
          </p:cNvPr>
          <p:cNvSpPr/>
          <p:nvPr userDrawn="1"/>
        </p:nvSpPr>
        <p:spPr>
          <a:xfrm>
            <a:off x="-21264" y="0"/>
            <a:ext cx="5613990" cy="6880081"/>
          </a:xfrm>
          <a:custGeom>
            <a:avLst/>
            <a:gdLst>
              <a:gd name="connsiteX0" fmla="*/ 0 w 5061096"/>
              <a:gd name="connsiteY0" fmla="*/ 0 h 7109638"/>
              <a:gd name="connsiteX1" fmla="*/ 5061096 w 5061096"/>
              <a:gd name="connsiteY1" fmla="*/ 0 h 7109638"/>
              <a:gd name="connsiteX2" fmla="*/ 5061096 w 5061096"/>
              <a:gd name="connsiteY2" fmla="*/ 7109638 h 7109638"/>
              <a:gd name="connsiteX3" fmla="*/ 0 w 5061096"/>
              <a:gd name="connsiteY3" fmla="*/ 7109638 h 7109638"/>
              <a:gd name="connsiteX4" fmla="*/ 0 w 5061096"/>
              <a:gd name="connsiteY4" fmla="*/ 0 h 7109638"/>
              <a:gd name="connsiteX0" fmla="*/ 0 w 5061096"/>
              <a:gd name="connsiteY0" fmla="*/ 14176 h 7123814"/>
              <a:gd name="connsiteX1" fmla="*/ 3572538 w 5061096"/>
              <a:gd name="connsiteY1" fmla="*/ 0 h 7123814"/>
              <a:gd name="connsiteX2" fmla="*/ 5061096 w 5061096"/>
              <a:gd name="connsiteY2" fmla="*/ 7123814 h 7123814"/>
              <a:gd name="connsiteX3" fmla="*/ 0 w 5061096"/>
              <a:gd name="connsiteY3" fmla="*/ 7123814 h 7123814"/>
              <a:gd name="connsiteX4" fmla="*/ 0 w 5061096"/>
              <a:gd name="connsiteY4" fmla="*/ 14176 h 7123814"/>
              <a:gd name="connsiteX0" fmla="*/ 0 w 6627626"/>
              <a:gd name="connsiteY0" fmla="*/ 14176 h 7130903"/>
              <a:gd name="connsiteX1" fmla="*/ 3572538 w 6627626"/>
              <a:gd name="connsiteY1" fmla="*/ 0 h 7130903"/>
              <a:gd name="connsiteX2" fmla="*/ 6627626 w 6627626"/>
              <a:gd name="connsiteY2" fmla="*/ 7130903 h 7130903"/>
              <a:gd name="connsiteX3" fmla="*/ 0 w 6627626"/>
              <a:gd name="connsiteY3" fmla="*/ 7123814 h 7130903"/>
              <a:gd name="connsiteX4" fmla="*/ 0 w 6627626"/>
              <a:gd name="connsiteY4" fmla="*/ 14176 h 7130903"/>
              <a:gd name="connsiteX0" fmla="*/ 0 w 6627626"/>
              <a:gd name="connsiteY0" fmla="*/ 14176 h 7241742"/>
              <a:gd name="connsiteX1" fmla="*/ 3572538 w 6627626"/>
              <a:gd name="connsiteY1" fmla="*/ 0 h 7241742"/>
              <a:gd name="connsiteX2" fmla="*/ 6627626 w 6627626"/>
              <a:gd name="connsiteY2" fmla="*/ 7130903 h 7241742"/>
              <a:gd name="connsiteX3" fmla="*/ 189762 w 6627626"/>
              <a:gd name="connsiteY3" fmla="*/ 7241742 h 7241742"/>
              <a:gd name="connsiteX4" fmla="*/ 0 w 6627626"/>
              <a:gd name="connsiteY4" fmla="*/ 14176 h 7241742"/>
              <a:gd name="connsiteX0" fmla="*/ 7028 w 6634654"/>
              <a:gd name="connsiteY0" fmla="*/ 14176 h 7153296"/>
              <a:gd name="connsiteX1" fmla="*/ 3579566 w 6634654"/>
              <a:gd name="connsiteY1" fmla="*/ 0 h 7153296"/>
              <a:gd name="connsiteX2" fmla="*/ 6634654 w 6634654"/>
              <a:gd name="connsiteY2" fmla="*/ 7130903 h 7153296"/>
              <a:gd name="connsiteX3" fmla="*/ 0 w 6634654"/>
              <a:gd name="connsiteY3" fmla="*/ 7153296 h 7153296"/>
              <a:gd name="connsiteX4" fmla="*/ 7028 w 6634654"/>
              <a:gd name="connsiteY4" fmla="*/ 14176 h 7153296"/>
              <a:gd name="connsiteX0" fmla="*/ 7028 w 6634654"/>
              <a:gd name="connsiteY0" fmla="*/ 14176 h 7153296"/>
              <a:gd name="connsiteX1" fmla="*/ 4023553 w 6634654"/>
              <a:gd name="connsiteY1" fmla="*/ 0 h 7153296"/>
              <a:gd name="connsiteX2" fmla="*/ 6634654 w 6634654"/>
              <a:gd name="connsiteY2" fmla="*/ 7130903 h 7153296"/>
              <a:gd name="connsiteX3" fmla="*/ 0 w 6634654"/>
              <a:gd name="connsiteY3" fmla="*/ 7153296 h 7153296"/>
              <a:gd name="connsiteX4" fmla="*/ 7028 w 6634654"/>
              <a:gd name="connsiteY4" fmla="*/ 14176 h 7153296"/>
              <a:gd name="connsiteX0" fmla="*/ 15405 w 6634654"/>
              <a:gd name="connsiteY0" fmla="*/ 0 h 7153862"/>
              <a:gd name="connsiteX1" fmla="*/ 4023553 w 6634654"/>
              <a:gd name="connsiteY1" fmla="*/ 566 h 7153862"/>
              <a:gd name="connsiteX2" fmla="*/ 6634654 w 6634654"/>
              <a:gd name="connsiteY2" fmla="*/ 7131469 h 7153862"/>
              <a:gd name="connsiteX3" fmla="*/ 0 w 6634654"/>
              <a:gd name="connsiteY3" fmla="*/ 7153862 h 7153862"/>
              <a:gd name="connsiteX4" fmla="*/ 15405 w 6634654"/>
              <a:gd name="connsiteY4" fmla="*/ 0 h 7153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34654" h="7153862">
                <a:moveTo>
                  <a:pt x="15405" y="0"/>
                </a:moveTo>
                <a:lnTo>
                  <a:pt x="4023553" y="566"/>
                </a:lnTo>
                <a:lnTo>
                  <a:pt x="6634654" y="7131469"/>
                </a:lnTo>
                <a:lnTo>
                  <a:pt x="0" y="7153862"/>
                </a:lnTo>
                <a:cubicBezTo>
                  <a:pt x="2343" y="4774155"/>
                  <a:pt x="13062" y="2379707"/>
                  <a:pt x="15405" y="0"/>
                </a:cubicBezTo>
                <a:close/>
              </a:path>
            </a:pathLst>
          </a:custGeom>
          <a:solidFill>
            <a:srgbClr val="3D99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164AE97-FBC0-0D04-6708-2A7A949822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3043" y="618705"/>
            <a:ext cx="1591278" cy="136213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E0828D9-A4E1-7CC2-8B7B-F4749E335318}"/>
              </a:ext>
            </a:extLst>
          </p:cNvPr>
          <p:cNvSpPr txBox="1"/>
          <p:nvPr userDrawn="1"/>
        </p:nvSpPr>
        <p:spPr>
          <a:xfrm>
            <a:off x="3009636" y="5701541"/>
            <a:ext cx="2346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00" b="0" dirty="0">
                <a:solidFill>
                  <a:schemeClr val="bg1"/>
                </a:solidFill>
                <a:latin typeface="Montserrat" panose="00000500000000000000" pitchFamily="2" charset="0"/>
              </a:rPr>
              <a:t>MILAN </a:t>
            </a:r>
          </a:p>
          <a:p>
            <a:pPr algn="l"/>
            <a:r>
              <a:rPr lang="en-US" sz="1800" b="0" dirty="0">
                <a:solidFill>
                  <a:schemeClr val="bg1"/>
                </a:solidFill>
                <a:latin typeface="Montserrat" panose="00000500000000000000" pitchFamily="2" charset="0"/>
              </a:rPr>
              <a:t>May 23 - 24</a:t>
            </a:r>
            <a:endParaRPr lang="bg-BG" sz="1800" b="0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C46D08A4-9A3F-8828-3BD7-0925D940AB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3043" y="5796946"/>
            <a:ext cx="2013728" cy="435401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88ED7B7-4386-3AAA-6C0C-D115E8448D50}"/>
              </a:ext>
            </a:extLst>
          </p:cNvPr>
          <p:cNvCxnSpPr>
            <a:cxnSpLocks/>
          </p:cNvCxnSpPr>
          <p:nvPr userDrawn="1"/>
        </p:nvCxnSpPr>
        <p:spPr>
          <a:xfrm>
            <a:off x="2851971" y="5759815"/>
            <a:ext cx="0" cy="486708"/>
          </a:xfrm>
          <a:prstGeom prst="line">
            <a:avLst/>
          </a:prstGeom>
          <a:ln w="254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" name="Parallelogram 5">
            <a:extLst>
              <a:ext uri="{FF2B5EF4-FFF2-40B4-BE49-F238E27FC236}">
                <a16:creationId xmlns:a16="http://schemas.microsoft.com/office/drawing/2014/main" id="{AEB41BB1-0406-F356-00E2-30AB1824C312}"/>
              </a:ext>
            </a:extLst>
          </p:cNvPr>
          <p:cNvSpPr/>
          <p:nvPr userDrawn="1"/>
        </p:nvSpPr>
        <p:spPr>
          <a:xfrm flipH="1">
            <a:off x="4695418" y="5701541"/>
            <a:ext cx="6006353" cy="646331"/>
          </a:xfrm>
          <a:prstGeom prst="parallelogram">
            <a:avLst>
              <a:gd name="adj" fmla="val 3325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44F2AE-5854-7269-71F8-034A15E0A336}"/>
              </a:ext>
            </a:extLst>
          </p:cNvPr>
          <p:cNvSpPr txBox="1"/>
          <p:nvPr userDrawn="1"/>
        </p:nvSpPr>
        <p:spPr>
          <a:xfrm>
            <a:off x="5127553" y="5708374"/>
            <a:ext cx="5895077" cy="55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4100"/>
              </a:lnSpc>
              <a:spcBef>
                <a:spcPts val="0"/>
              </a:spcBef>
            </a:pPr>
            <a:r>
              <a:rPr lang="en-US" sz="2200" b="0" spc="0" dirty="0">
                <a:solidFill>
                  <a:schemeClr val="bg1"/>
                </a:solidFill>
                <a:latin typeface="Montserrat" panose="00000500000000000000" pitchFamily="2" charset="0"/>
              </a:rPr>
              <a:t>Building Sustainable </a:t>
            </a:r>
            <a:r>
              <a:rPr lang="en-US" sz="2200" b="0" spc="0" dirty="0" err="1">
                <a:solidFill>
                  <a:schemeClr val="bg1"/>
                </a:solidFill>
                <a:latin typeface="Montserrat" panose="00000500000000000000" pitchFamily="2" charset="0"/>
              </a:rPr>
              <a:t>Organisations</a:t>
            </a:r>
            <a:endParaRPr lang="bg-BG" sz="2200" b="0" spc="0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74476B-6F80-7633-B475-4154F39A988C}"/>
              </a:ext>
            </a:extLst>
          </p:cNvPr>
          <p:cNvCxnSpPr>
            <a:cxnSpLocks/>
          </p:cNvCxnSpPr>
          <p:nvPr userDrawn="1"/>
        </p:nvCxnSpPr>
        <p:spPr>
          <a:xfrm>
            <a:off x="4898064" y="6347872"/>
            <a:ext cx="5803707" cy="13921"/>
          </a:xfrm>
          <a:prstGeom prst="line">
            <a:avLst/>
          </a:prstGeom>
          <a:ln w="254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741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632EA5E5-E5AF-B27A-13F6-33F4378F95A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black">
          <a:xfrm>
            <a:off x="9975794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E53916C-A519-FF96-7FCB-DDC77A747D6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4973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6CE9E03-46D8-43B0-98E4-A269B1421964}"/>
              </a:ext>
            </a:extLst>
          </p:cNvPr>
          <p:cNvSpPr/>
          <p:nvPr userDrawn="1"/>
        </p:nvSpPr>
        <p:spPr>
          <a:xfrm>
            <a:off x="0" y="-1859"/>
            <a:ext cx="12192000" cy="122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389210-F752-2CAC-F186-325FE8A7C550}"/>
              </a:ext>
            </a:extLst>
          </p:cNvPr>
          <p:cNvSpPr/>
          <p:nvPr userDrawn="1"/>
        </p:nvSpPr>
        <p:spPr>
          <a:xfrm>
            <a:off x="-636850" y="0"/>
            <a:ext cx="12456000" cy="1222141"/>
          </a:xfrm>
          <a:prstGeom prst="rect">
            <a:avLst/>
          </a:prstGeom>
          <a:blipFill dpi="0" rotWithShape="0">
            <a:blip r:embed="rId2"/>
            <a:srcRect/>
            <a:stretch>
              <a:fillRect l="30237" t="-119119" r="5887" b="-54410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 dirty="0"/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EDEFEC9A-062E-5712-CF99-671A00017750}"/>
              </a:ext>
            </a:extLst>
          </p:cNvPr>
          <p:cNvSpPr/>
          <p:nvPr userDrawn="1"/>
        </p:nvSpPr>
        <p:spPr>
          <a:xfrm>
            <a:off x="211856" y="-930"/>
            <a:ext cx="4523776" cy="1222141"/>
          </a:xfrm>
          <a:custGeom>
            <a:avLst/>
            <a:gdLst>
              <a:gd name="connsiteX0" fmla="*/ 0 w 5061096"/>
              <a:gd name="connsiteY0" fmla="*/ 0 h 7109638"/>
              <a:gd name="connsiteX1" fmla="*/ 5061096 w 5061096"/>
              <a:gd name="connsiteY1" fmla="*/ 0 h 7109638"/>
              <a:gd name="connsiteX2" fmla="*/ 5061096 w 5061096"/>
              <a:gd name="connsiteY2" fmla="*/ 7109638 h 7109638"/>
              <a:gd name="connsiteX3" fmla="*/ 0 w 5061096"/>
              <a:gd name="connsiteY3" fmla="*/ 7109638 h 7109638"/>
              <a:gd name="connsiteX4" fmla="*/ 0 w 5061096"/>
              <a:gd name="connsiteY4" fmla="*/ 0 h 7109638"/>
              <a:gd name="connsiteX0" fmla="*/ 0 w 5061096"/>
              <a:gd name="connsiteY0" fmla="*/ 14176 h 7123814"/>
              <a:gd name="connsiteX1" fmla="*/ 3572538 w 5061096"/>
              <a:gd name="connsiteY1" fmla="*/ 0 h 7123814"/>
              <a:gd name="connsiteX2" fmla="*/ 5061096 w 5061096"/>
              <a:gd name="connsiteY2" fmla="*/ 7123814 h 7123814"/>
              <a:gd name="connsiteX3" fmla="*/ 0 w 5061096"/>
              <a:gd name="connsiteY3" fmla="*/ 7123814 h 7123814"/>
              <a:gd name="connsiteX4" fmla="*/ 0 w 5061096"/>
              <a:gd name="connsiteY4" fmla="*/ 14176 h 7123814"/>
              <a:gd name="connsiteX0" fmla="*/ 0 w 6627626"/>
              <a:gd name="connsiteY0" fmla="*/ 14176 h 7130903"/>
              <a:gd name="connsiteX1" fmla="*/ 3572538 w 6627626"/>
              <a:gd name="connsiteY1" fmla="*/ 0 h 7130903"/>
              <a:gd name="connsiteX2" fmla="*/ 6627626 w 6627626"/>
              <a:gd name="connsiteY2" fmla="*/ 7130903 h 7130903"/>
              <a:gd name="connsiteX3" fmla="*/ 0 w 6627626"/>
              <a:gd name="connsiteY3" fmla="*/ 7123814 h 7130903"/>
              <a:gd name="connsiteX4" fmla="*/ 0 w 6627626"/>
              <a:gd name="connsiteY4" fmla="*/ 14176 h 7130903"/>
              <a:gd name="connsiteX0" fmla="*/ 611456 w 6627626"/>
              <a:gd name="connsiteY0" fmla="*/ 0 h 7146209"/>
              <a:gd name="connsiteX1" fmla="*/ 3572538 w 6627626"/>
              <a:gd name="connsiteY1" fmla="*/ 15306 h 7146209"/>
              <a:gd name="connsiteX2" fmla="*/ 6627626 w 6627626"/>
              <a:gd name="connsiteY2" fmla="*/ 7146209 h 7146209"/>
              <a:gd name="connsiteX3" fmla="*/ 0 w 6627626"/>
              <a:gd name="connsiteY3" fmla="*/ 7139120 h 7146209"/>
              <a:gd name="connsiteX4" fmla="*/ 611456 w 6627626"/>
              <a:gd name="connsiteY4" fmla="*/ 0 h 7146209"/>
              <a:gd name="connsiteX0" fmla="*/ 7028 w 6627626"/>
              <a:gd name="connsiteY0" fmla="*/ 6805 h 7130903"/>
              <a:gd name="connsiteX1" fmla="*/ 3572538 w 6627626"/>
              <a:gd name="connsiteY1" fmla="*/ 0 h 7130903"/>
              <a:gd name="connsiteX2" fmla="*/ 6627626 w 6627626"/>
              <a:gd name="connsiteY2" fmla="*/ 7130903 h 7130903"/>
              <a:gd name="connsiteX3" fmla="*/ 0 w 6627626"/>
              <a:gd name="connsiteY3" fmla="*/ 7123814 h 7130903"/>
              <a:gd name="connsiteX4" fmla="*/ 7028 w 6627626"/>
              <a:gd name="connsiteY4" fmla="*/ 6805 h 7130903"/>
              <a:gd name="connsiteX0" fmla="*/ 7028 w 4132603"/>
              <a:gd name="connsiteY0" fmla="*/ 6805 h 7123814"/>
              <a:gd name="connsiteX1" fmla="*/ 3572538 w 4132603"/>
              <a:gd name="connsiteY1" fmla="*/ 0 h 7123814"/>
              <a:gd name="connsiteX2" fmla="*/ 4132603 w 4132603"/>
              <a:gd name="connsiteY2" fmla="*/ 1249291 h 7123814"/>
              <a:gd name="connsiteX3" fmla="*/ 0 w 4132603"/>
              <a:gd name="connsiteY3" fmla="*/ 7123814 h 7123814"/>
              <a:gd name="connsiteX4" fmla="*/ 7028 w 4132603"/>
              <a:gd name="connsiteY4" fmla="*/ 6805 h 7123814"/>
              <a:gd name="connsiteX0" fmla="*/ 26 w 4125601"/>
              <a:gd name="connsiteY0" fmla="*/ 6805 h 3453334"/>
              <a:gd name="connsiteX1" fmla="*/ 3565536 w 4125601"/>
              <a:gd name="connsiteY1" fmla="*/ 0 h 3453334"/>
              <a:gd name="connsiteX2" fmla="*/ 4125601 w 4125601"/>
              <a:gd name="connsiteY2" fmla="*/ 1249291 h 3453334"/>
              <a:gd name="connsiteX3" fmla="*/ 154648 w 4125601"/>
              <a:gd name="connsiteY3" fmla="*/ 3453334 h 3453334"/>
              <a:gd name="connsiteX4" fmla="*/ 26 w 4125601"/>
              <a:gd name="connsiteY4" fmla="*/ 6805 h 3453334"/>
              <a:gd name="connsiteX0" fmla="*/ 16 w 4125591"/>
              <a:gd name="connsiteY0" fmla="*/ 6805 h 3453334"/>
              <a:gd name="connsiteX1" fmla="*/ 3565526 w 4125591"/>
              <a:gd name="connsiteY1" fmla="*/ 0 h 3453334"/>
              <a:gd name="connsiteX2" fmla="*/ 4125591 w 4125591"/>
              <a:gd name="connsiteY2" fmla="*/ 1249291 h 3453334"/>
              <a:gd name="connsiteX3" fmla="*/ 154638 w 4125591"/>
              <a:gd name="connsiteY3" fmla="*/ 3453334 h 3453334"/>
              <a:gd name="connsiteX4" fmla="*/ 16 w 4125591"/>
              <a:gd name="connsiteY4" fmla="*/ 6805 h 3453334"/>
              <a:gd name="connsiteX0" fmla="*/ 14056 w 4139631"/>
              <a:gd name="connsiteY0" fmla="*/ 6805 h 1337332"/>
              <a:gd name="connsiteX1" fmla="*/ 3579566 w 4139631"/>
              <a:gd name="connsiteY1" fmla="*/ 0 h 1337332"/>
              <a:gd name="connsiteX2" fmla="*/ 4139631 w 4139631"/>
              <a:gd name="connsiteY2" fmla="*/ 1249291 h 1337332"/>
              <a:gd name="connsiteX3" fmla="*/ 0 w 4139631"/>
              <a:gd name="connsiteY3" fmla="*/ 1279054 h 1337332"/>
              <a:gd name="connsiteX4" fmla="*/ 14056 w 4139631"/>
              <a:gd name="connsiteY4" fmla="*/ 6805 h 1337332"/>
              <a:gd name="connsiteX0" fmla="*/ 14056 w 4139631"/>
              <a:gd name="connsiteY0" fmla="*/ 6805 h 1324878"/>
              <a:gd name="connsiteX1" fmla="*/ 3579566 w 4139631"/>
              <a:gd name="connsiteY1" fmla="*/ 0 h 1324878"/>
              <a:gd name="connsiteX2" fmla="*/ 4139631 w 4139631"/>
              <a:gd name="connsiteY2" fmla="*/ 1249291 h 1324878"/>
              <a:gd name="connsiteX3" fmla="*/ 0 w 4139631"/>
              <a:gd name="connsiteY3" fmla="*/ 1279054 h 1324878"/>
              <a:gd name="connsiteX4" fmla="*/ 14056 w 4139631"/>
              <a:gd name="connsiteY4" fmla="*/ 6805 h 1324878"/>
              <a:gd name="connsiteX0" fmla="*/ 14056 w 4125574"/>
              <a:gd name="connsiteY0" fmla="*/ 6805 h 1324878"/>
              <a:gd name="connsiteX1" fmla="*/ 3579566 w 4125574"/>
              <a:gd name="connsiteY1" fmla="*/ 0 h 1324878"/>
              <a:gd name="connsiteX2" fmla="*/ 4125574 w 4125574"/>
              <a:gd name="connsiteY2" fmla="*/ 1271402 h 1324878"/>
              <a:gd name="connsiteX3" fmla="*/ 0 w 4125574"/>
              <a:gd name="connsiteY3" fmla="*/ 1279054 h 1324878"/>
              <a:gd name="connsiteX4" fmla="*/ 14056 w 4125574"/>
              <a:gd name="connsiteY4" fmla="*/ 6805 h 1324878"/>
              <a:gd name="connsiteX0" fmla="*/ 14056 w 3579566"/>
              <a:gd name="connsiteY0" fmla="*/ 6805 h 1324878"/>
              <a:gd name="connsiteX1" fmla="*/ 3579566 w 3579566"/>
              <a:gd name="connsiteY1" fmla="*/ 0 h 1324878"/>
              <a:gd name="connsiteX2" fmla="*/ 2867905 w 3579566"/>
              <a:gd name="connsiteY2" fmla="*/ 1278762 h 1324878"/>
              <a:gd name="connsiteX3" fmla="*/ 0 w 3579566"/>
              <a:gd name="connsiteY3" fmla="*/ 1279054 h 1324878"/>
              <a:gd name="connsiteX4" fmla="*/ 14056 w 3579566"/>
              <a:gd name="connsiteY4" fmla="*/ 6805 h 1324878"/>
              <a:gd name="connsiteX0" fmla="*/ 14056 w 3990018"/>
              <a:gd name="connsiteY0" fmla="*/ 14165 h 1332238"/>
              <a:gd name="connsiteX1" fmla="*/ 3990018 w 3990018"/>
              <a:gd name="connsiteY1" fmla="*/ 0 h 1332238"/>
              <a:gd name="connsiteX2" fmla="*/ 2867905 w 3990018"/>
              <a:gd name="connsiteY2" fmla="*/ 1286122 h 1332238"/>
              <a:gd name="connsiteX3" fmla="*/ 0 w 3990018"/>
              <a:gd name="connsiteY3" fmla="*/ 1286414 h 1332238"/>
              <a:gd name="connsiteX4" fmla="*/ 14056 w 3990018"/>
              <a:gd name="connsiteY4" fmla="*/ 14165 h 1332238"/>
              <a:gd name="connsiteX0" fmla="*/ 14056 w 3990018"/>
              <a:gd name="connsiteY0" fmla="*/ 14165 h 1332238"/>
              <a:gd name="connsiteX1" fmla="*/ 3990018 w 3990018"/>
              <a:gd name="connsiteY1" fmla="*/ 0 h 1332238"/>
              <a:gd name="connsiteX2" fmla="*/ 3494109 w 3990018"/>
              <a:gd name="connsiteY2" fmla="*/ 1286122 h 1332238"/>
              <a:gd name="connsiteX3" fmla="*/ 0 w 3990018"/>
              <a:gd name="connsiteY3" fmla="*/ 1286414 h 1332238"/>
              <a:gd name="connsiteX4" fmla="*/ 14056 w 3990018"/>
              <a:gd name="connsiteY4" fmla="*/ 14165 h 1332238"/>
              <a:gd name="connsiteX0" fmla="*/ 503442 w 3990018"/>
              <a:gd name="connsiteY0" fmla="*/ 389546 h 1565454"/>
              <a:gd name="connsiteX1" fmla="*/ 3990018 w 3990018"/>
              <a:gd name="connsiteY1" fmla="*/ 0 h 1565454"/>
              <a:gd name="connsiteX2" fmla="*/ 3494109 w 3990018"/>
              <a:gd name="connsiteY2" fmla="*/ 1286122 h 1565454"/>
              <a:gd name="connsiteX3" fmla="*/ 0 w 3990018"/>
              <a:gd name="connsiteY3" fmla="*/ 1286414 h 1565454"/>
              <a:gd name="connsiteX4" fmla="*/ 503442 w 3990018"/>
              <a:gd name="connsiteY4" fmla="*/ 389546 h 1565454"/>
              <a:gd name="connsiteX0" fmla="*/ 503442 w 3990018"/>
              <a:gd name="connsiteY0" fmla="*/ 389546 h 1286414"/>
              <a:gd name="connsiteX1" fmla="*/ 3990018 w 3990018"/>
              <a:gd name="connsiteY1" fmla="*/ 0 h 1286414"/>
              <a:gd name="connsiteX2" fmla="*/ 3494109 w 3990018"/>
              <a:gd name="connsiteY2" fmla="*/ 1286122 h 1286414"/>
              <a:gd name="connsiteX3" fmla="*/ 0 w 3990018"/>
              <a:gd name="connsiteY3" fmla="*/ 1286414 h 1286414"/>
              <a:gd name="connsiteX4" fmla="*/ 503442 w 3990018"/>
              <a:gd name="connsiteY4" fmla="*/ 389546 h 1286414"/>
              <a:gd name="connsiteX0" fmla="*/ 0 w 4007535"/>
              <a:gd name="connsiteY0" fmla="*/ 0 h 1286971"/>
              <a:gd name="connsiteX1" fmla="*/ 4007535 w 4007535"/>
              <a:gd name="connsiteY1" fmla="*/ 557 h 1286971"/>
              <a:gd name="connsiteX2" fmla="*/ 3511626 w 4007535"/>
              <a:gd name="connsiteY2" fmla="*/ 1286679 h 1286971"/>
              <a:gd name="connsiteX3" fmla="*/ 17517 w 4007535"/>
              <a:gd name="connsiteY3" fmla="*/ 1286971 h 1286971"/>
              <a:gd name="connsiteX4" fmla="*/ 0 w 4007535"/>
              <a:gd name="connsiteY4" fmla="*/ 0 h 1286971"/>
              <a:gd name="connsiteX0" fmla="*/ 0 w 4007535"/>
              <a:gd name="connsiteY0" fmla="*/ 0 h 1286971"/>
              <a:gd name="connsiteX1" fmla="*/ 4007535 w 4007535"/>
              <a:gd name="connsiteY1" fmla="*/ 557 h 1286971"/>
              <a:gd name="connsiteX2" fmla="*/ 3511626 w 4007535"/>
              <a:gd name="connsiteY2" fmla="*/ 1286679 h 1286971"/>
              <a:gd name="connsiteX3" fmla="*/ 17517 w 4007535"/>
              <a:gd name="connsiteY3" fmla="*/ 1286971 h 1286971"/>
              <a:gd name="connsiteX4" fmla="*/ 0 w 4007535"/>
              <a:gd name="connsiteY4" fmla="*/ 0 h 1286971"/>
              <a:gd name="connsiteX0" fmla="*/ 0 w 4007535"/>
              <a:gd name="connsiteY0" fmla="*/ 0 h 1286971"/>
              <a:gd name="connsiteX1" fmla="*/ 4007535 w 4007535"/>
              <a:gd name="connsiteY1" fmla="*/ 557 h 1286971"/>
              <a:gd name="connsiteX2" fmla="*/ 3511626 w 4007535"/>
              <a:gd name="connsiteY2" fmla="*/ 1286679 h 1286971"/>
              <a:gd name="connsiteX3" fmla="*/ 17517 w 4007535"/>
              <a:gd name="connsiteY3" fmla="*/ 1286971 h 1286971"/>
              <a:gd name="connsiteX4" fmla="*/ 0 w 4007535"/>
              <a:gd name="connsiteY4" fmla="*/ 0 h 1286971"/>
              <a:gd name="connsiteX0" fmla="*/ 0 w 3528674"/>
              <a:gd name="connsiteY0" fmla="*/ 0 h 1286971"/>
              <a:gd name="connsiteX1" fmla="*/ 3528674 w 3528674"/>
              <a:gd name="connsiteY1" fmla="*/ 557 h 1286971"/>
              <a:gd name="connsiteX2" fmla="*/ 3511626 w 3528674"/>
              <a:gd name="connsiteY2" fmla="*/ 1286679 h 1286971"/>
              <a:gd name="connsiteX3" fmla="*/ 17517 w 3528674"/>
              <a:gd name="connsiteY3" fmla="*/ 1286971 h 1286971"/>
              <a:gd name="connsiteX4" fmla="*/ 0 w 3528674"/>
              <a:gd name="connsiteY4" fmla="*/ 0 h 1286971"/>
              <a:gd name="connsiteX0" fmla="*/ 0 w 4106256"/>
              <a:gd name="connsiteY0" fmla="*/ 0 h 1286971"/>
              <a:gd name="connsiteX1" fmla="*/ 3528674 w 4106256"/>
              <a:gd name="connsiteY1" fmla="*/ 557 h 1286971"/>
              <a:gd name="connsiteX2" fmla="*/ 4106256 w 4106256"/>
              <a:gd name="connsiteY2" fmla="*/ 1264598 h 1286971"/>
              <a:gd name="connsiteX3" fmla="*/ 17517 w 4106256"/>
              <a:gd name="connsiteY3" fmla="*/ 1286971 h 1286971"/>
              <a:gd name="connsiteX4" fmla="*/ 0 w 4106256"/>
              <a:gd name="connsiteY4" fmla="*/ 0 h 1286971"/>
              <a:gd name="connsiteX0" fmla="*/ 0 w 4090469"/>
              <a:gd name="connsiteY0" fmla="*/ 0 h 1286971"/>
              <a:gd name="connsiteX1" fmla="*/ 3528674 w 4090469"/>
              <a:gd name="connsiteY1" fmla="*/ 557 h 1286971"/>
              <a:gd name="connsiteX2" fmla="*/ 4090469 w 4090469"/>
              <a:gd name="connsiteY2" fmla="*/ 1286679 h 1286971"/>
              <a:gd name="connsiteX3" fmla="*/ 17517 w 4090469"/>
              <a:gd name="connsiteY3" fmla="*/ 1286971 h 1286971"/>
              <a:gd name="connsiteX4" fmla="*/ 0 w 4090469"/>
              <a:gd name="connsiteY4" fmla="*/ 0 h 1286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0469" h="1286971">
                <a:moveTo>
                  <a:pt x="0" y="0"/>
                </a:moveTo>
                <a:lnTo>
                  <a:pt x="3528674" y="557"/>
                </a:lnTo>
                <a:lnTo>
                  <a:pt x="4090469" y="1286679"/>
                </a:lnTo>
                <a:lnTo>
                  <a:pt x="17517" y="1286971"/>
                </a:lnTo>
                <a:cubicBezTo>
                  <a:pt x="11101" y="713023"/>
                  <a:pt x="18706" y="657355"/>
                  <a:pt x="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 dirty="0">
              <a:solidFill>
                <a:srgbClr val="D8802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140837-D082-A6A6-96E1-6F3D2807096E}"/>
              </a:ext>
            </a:extLst>
          </p:cNvPr>
          <p:cNvSpPr/>
          <p:nvPr userDrawn="1"/>
        </p:nvSpPr>
        <p:spPr>
          <a:xfrm rot="10800000">
            <a:off x="9471263" y="674391"/>
            <a:ext cx="2757575" cy="547749"/>
          </a:xfrm>
          <a:custGeom>
            <a:avLst/>
            <a:gdLst>
              <a:gd name="connsiteX0" fmla="*/ 0 w 5061096"/>
              <a:gd name="connsiteY0" fmla="*/ 0 h 7109638"/>
              <a:gd name="connsiteX1" fmla="*/ 5061096 w 5061096"/>
              <a:gd name="connsiteY1" fmla="*/ 0 h 7109638"/>
              <a:gd name="connsiteX2" fmla="*/ 5061096 w 5061096"/>
              <a:gd name="connsiteY2" fmla="*/ 7109638 h 7109638"/>
              <a:gd name="connsiteX3" fmla="*/ 0 w 5061096"/>
              <a:gd name="connsiteY3" fmla="*/ 7109638 h 7109638"/>
              <a:gd name="connsiteX4" fmla="*/ 0 w 5061096"/>
              <a:gd name="connsiteY4" fmla="*/ 0 h 7109638"/>
              <a:gd name="connsiteX0" fmla="*/ 0 w 5061096"/>
              <a:gd name="connsiteY0" fmla="*/ 14176 h 7123814"/>
              <a:gd name="connsiteX1" fmla="*/ 3572538 w 5061096"/>
              <a:gd name="connsiteY1" fmla="*/ 0 h 7123814"/>
              <a:gd name="connsiteX2" fmla="*/ 5061096 w 5061096"/>
              <a:gd name="connsiteY2" fmla="*/ 7123814 h 7123814"/>
              <a:gd name="connsiteX3" fmla="*/ 0 w 5061096"/>
              <a:gd name="connsiteY3" fmla="*/ 7123814 h 7123814"/>
              <a:gd name="connsiteX4" fmla="*/ 0 w 5061096"/>
              <a:gd name="connsiteY4" fmla="*/ 14176 h 7123814"/>
              <a:gd name="connsiteX0" fmla="*/ 0 w 6627626"/>
              <a:gd name="connsiteY0" fmla="*/ 14176 h 7130903"/>
              <a:gd name="connsiteX1" fmla="*/ 3572538 w 6627626"/>
              <a:gd name="connsiteY1" fmla="*/ 0 h 7130903"/>
              <a:gd name="connsiteX2" fmla="*/ 6627626 w 6627626"/>
              <a:gd name="connsiteY2" fmla="*/ 7130903 h 7130903"/>
              <a:gd name="connsiteX3" fmla="*/ 0 w 6627626"/>
              <a:gd name="connsiteY3" fmla="*/ 7123814 h 7130903"/>
              <a:gd name="connsiteX4" fmla="*/ 0 w 6627626"/>
              <a:gd name="connsiteY4" fmla="*/ 14176 h 7130903"/>
              <a:gd name="connsiteX0" fmla="*/ 611456 w 6627626"/>
              <a:gd name="connsiteY0" fmla="*/ 0 h 7146209"/>
              <a:gd name="connsiteX1" fmla="*/ 3572538 w 6627626"/>
              <a:gd name="connsiteY1" fmla="*/ 15306 h 7146209"/>
              <a:gd name="connsiteX2" fmla="*/ 6627626 w 6627626"/>
              <a:gd name="connsiteY2" fmla="*/ 7146209 h 7146209"/>
              <a:gd name="connsiteX3" fmla="*/ 0 w 6627626"/>
              <a:gd name="connsiteY3" fmla="*/ 7139120 h 7146209"/>
              <a:gd name="connsiteX4" fmla="*/ 611456 w 6627626"/>
              <a:gd name="connsiteY4" fmla="*/ 0 h 7146209"/>
              <a:gd name="connsiteX0" fmla="*/ 7028 w 6627626"/>
              <a:gd name="connsiteY0" fmla="*/ 6805 h 7130903"/>
              <a:gd name="connsiteX1" fmla="*/ 3572538 w 6627626"/>
              <a:gd name="connsiteY1" fmla="*/ 0 h 7130903"/>
              <a:gd name="connsiteX2" fmla="*/ 6627626 w 6627626"/>
              <a:gd name="connsiteY2" fmla="*/ 7130903 h 7130903"/>
              <a:gd name="connsiteX3" fmla="*/ 0 w 6627626"/>
              <a:gd name="connsiteY3" fmla="*/ 7123814 h 7130903"/>
              <a:gd name="connsiteX4" fmla="*/ 7028 w 6627626"/>
              <a:gd name="connsiteY4" fmla="*/ 6805 h 7130903"/>
              <a:gd name="connsiteX0" fmla="*/ 7028 w 4132603"/>
              <a:gd name="connsiteY0" fmla="*/ 6805 h 7123814"/>
              <a:gd name="connsiteX1" fmla="*/ 3572538 w 4132603"/>
              <a:gd name="connsiteY1" fmla="*/ 0 h 7123814"/>
              <a:gd name="connsiteX2" fmla="*/ 4132603 w 4132603"/>
              <a:gd name="connsiteY2" fmla="*/ 1249291 h 7123814"/>
              <a:gd name="connsiteX3" fmla="*/ 0 w 4132603"/>
              <a:gd name="connsiteY3" fmla="*/ 7123814 h 7123814"/>
              <a:gd name="connsiteX4" fmla="*/ 7028 w 4132603"/>
              <a:gd name="connsiteY4" fmla="*/ 6805 h 7123814"/>
              <a:gd name="connsiteX0" fmla="*/ 26 w 4125601"/>
              <a:gd name="connsiteY0" fmla="*/ 6805 h 3453334"/>
              <a:gd name="connsiteX1" fmla="*/ 3565536 w 4125601"/>
              <a:gd name="connsiteY1" fmla="*/ 0 h 3453334"/>
              <a:gd name="connsiteX2" fmla="*/ 4125601 w 4125601"/>
              <a:gd name="connsiteY2" fmla="*/ 1249291 h 3453334"/>
              <a:gd name="connsiteX3" fmla="*/ 154648 w 4125601"/>
              <a:gd name="connsiteY3" fmla="*/ 3453334 h 3453334"/>
              <a:gd name="connsiteX4" fmla="*/ 26 w 4125601"/>
              <a:gd name="connsiteY4" fmla="*/ 6805 h 3453334"/>
              <a:gd name="connsiteX0" fmla="*/ 16 w 4125591"/>
              <a:gd name="connsiteY0" fmla="*/ 6805 h 3453334"/>
              <a:gd name="connsiteX1" fmla="*/ 3565526 w 4125591"/>
              <a:gd name="connsiteY1" fmla="*/ 0 h 3453334"/>
              <a:gd name="connsiteX2" fmla="*/ 4125591 w 4125591"/>
              <a:gd name="connsiteY2" fmla="*/ 1249291 h 3453334"/>
              <a:gd name="connsiteX3" fmla="*/ 154638 w 4125591"/>
              <a:gd name="connsiteY3" fmla="*/ 3453334 h 3453334"/>
              <a:gd name="connsiteX4" fmla="*/ 16 w 4125591"/>
              <a:gd name="connsiteY4" fmla="*/ 6805 h 3453334"/>
              <a:gd name="connsiteX0" fmla="*/ 14056 w 4139631"/>
              <a:gd name="connsiteY0" fmla="*/ 6805 h 1337332"/>
              <a:gd name="connsiteX1" fmla="*/ 3579566 w 4139631"/>
              <a:gd name="connsiteY1" fmla="*/ 0 h 1337332"/>
              <a:gd name="connsiteX2" fmla="*/ 4139631 w 4139631"/>
              <a:gd name="connsiteY2" fmla="*/ 1249291 h 1337332"/>
              <a:gd name="connsiteX3" fmla="*/ 0 w 4139631"/>
              <a:gd name="connsiteY3" fmla="*/ 1279054 h 1337332"/>
              <a:gd name="connsiteX4" fmla="*/ 14056 w 4139631"/>
              <a:gd name="connsiteY4" fmla="*/ 6805 h 1337332"/>
              <a:gd name="connsiteX0" fmla="*/ 14056 w 4139631"/>
              <a:gd name="connsiteY0" fmla="*/ 6805 h 1324878"/>
              <a:gd name="connsiteX1" fmla="*/ 3579566 w 4139631"/>
              <a:gd name="connsiteY1" fmla="*/ 0 h 1324878"/>
              <a:gd name="connsiteX2" fmla="*/ 4139631 w 4139631"/>
              <a:gd name="connsiteY2" fmla="*/ 1249291 h 1324878"/>
              <a:gd name="connsiteX3" fmla="*/ 0 w 4139631"/>
              <a:gd name="connsiteY3" fmla="*/ 1279054 h 1324878"/>
              <a:gd name="connsiteX4" fmla="*/ 14056 w 4139631"/>
              <a:gd name="connsiteY4" fmla="*/ 6805 h 1324878"/>
              <a:gd name="connsiteX0" fmla="*/ 14056 w 4125574"/>
              <a:gd name="connsiteY0" fmla="*/ 6805 h 1324878"/>
              <a:gd name="connsiteX1" fmla="*/ 3579566 w 4125574"/>
              <a:gd name="connsiteY1" fmla="*/ 0 h 1324878"/>
              <a:gd name="connsiteX2" fmla="*/ 4125574 w 4125574"/>
              <a:gd name="connsiteY2" fmla="*/ 1271402 h 1324878"/>
              <a:gd name="connsiteX3" fmla="*/ 0 w 4125574"/>
              <a:gd name="connsiteY3" fmla="*/ 1279054 h 1324878"/>
              <a:gd name="connsiteX4" fmla="*/ 14056 w 4125574"/>
              <a:gd name="connsiteY4" fmla="*/ 6805 h 1324878"/>
              <a:gd name="connsiteX0" fmla="*/ 14056 w 3579566"/>
              <a:gd name="connsiteY0" fmla="*/ 6805 h 1324878"/>
              <a:gd name="connsiteX1" fmla="*/ 3579566 w 3579566"/>
              <a:gd name="connsiteY1" fmla="*/ 0 h 1324878"/>
              <a:gd name="connsiteX2" fmla="*/ 2867905 w 3579566"/>
              <a:gd name="connsiteY2" fmla="*/ 1278762 h 1324878"/>
              <a:gd name="connsiteX3" fmla="*/ 0 w 3579566"/>
              <a:gd name="connsiteY3" fmla="*/ 1279054 h 1324878"/>
              <a:gd name="connsiteX4" fmla="*/ 14056 w 3579566"/>
              <a:gd name="connsiteY4" fmla="*/ 6805 h 1324878"/>
              <a:gd name="connsiteX0" fmla="*/ 14056 w 3990018"/>
              <a:gd name="connsiteY0" fmla="*/ 14165 h 1332238"/>
              <a:gd name="connsiteX1" fmla="*/ 3990018 w 3990018"/>
              <a:gd name="connsiteY1" fmla="*/ 0 h 1332238"/>
              <a:gd name="connsiteX2" fmla="*/ 2867905 w 3990018"/>
              <a:gd name="connsiteY2" fmla="*/ 1286122 h 1332238"/>
              <a:gd name="connsiteX3" fmla="*/ 0 w 3990018"/>
              <a:gd name="connsiteY3" fmla="*/ 1286414 h 1332238"/>
              <a:gd name="connsiteX4" fmla="*/ 14056 w 3990018"/>
              <a:gd name="connsiteY4" fmla="*/ 14165 h 1332238"/>
              <a:gd name="connsiteX0" fmla="*/ 14056 w 3990018"/>
              <a:gd name="connsiteY0" fmla="*/ 14165 h 1332238"/>
              <a:gd name="connsiteX1" fmla="*/ 3990018 w 3990018"/>
              <a:gd name="connsiteY1" fmla="*/ 0 h 1332238"/>
              <a:gd name="connsiteX2" fmla="*/ 3494109 w 3990018"/>
              <a:gd name="connsiteY2" fmla="*/ 1286122 h 1332238"/>
              <a:gd name="connsiteX3" fmla="*/ 0 w 3990018"/>
              <a:gd name="connsiteY3" fmla="*/ 1286414 h 1332238"/>
              <a:gd name="connsiteX4" fmla="*/ 14056 w 3990018"/>
              <a:gd name="connsiteY4" fmla="*/ 14165 h 1332238"/>
              <a:gd name="connsiteX0" fmla="*/ 503442 w 3990018"/>
              <a:gd name="connsiteY0" fmla="*/ 389546 h 1565454"/>
              <a:gd name="connsiteX1" fmla="*/ 3990018 w 3990018"/>
              <a:gd name="connsiteY1" fmla="*/ 0 h 1565454"/>
              <a:gd name="connsiteX2" fmla="*/ 3494109 w 3990018"/>
              <a:gd name="connsiteY2" fmla="*/ 1286122 h 1565454"/>
              <a:gd name="connsiteX3" fmla="*/ 0 w 3990018"/>
              <a:gd name="connsiteY3" fmla="*/ 1286414 h 1565454"/>
              <a:gd name="connsiteX4" fmla="*/ 503442 w 3990018"/>
              <a:gd name="connsiteY4" fmla="*/ 389546 h 1565454"/>
              <a:gd name="connsiteX0" fmla="*/ 503442 w 3990018"/>
              <a:gd name="connsiteY0" fmla="*/ 389546 h 1286414"/>
              <a:gd name="connsiteX1" fmla="*/ 3990018 w 3990018"/>
              <a:gd name="connsiteY1" fmla="*/ 0 h 1286414"/>
              <a:gd name="connsiteX2" fmla="*/ 3494109 w 3990018"/>
              <a:gd name="connsiteY2" fmla="*/ 1286122 h 1286414"/>
              <a:gd name="connsiteX3" fmla="*/ 0 w 3990018"/>
              <a:gd name="connsiteY3" fmla="*/ 1286414 h 1286414"/>
              <a:gd name="connsiteX4" fmla="*/ 503442 w 3990018"/>
              <a:gd name="connsiteY4" fmla="*/ 389546 h 1286414"/>
              <a:gd name="connsiteX0" fmla="*/ 0 w 4007535"/>
              <a:gd name="connsiteY0" fmla="*/ 0 h 1286971"/>
              <a:gd name="connsiteX1" fmla="*/ 4007535 w 4007535"/>
              <a:gd name="connsiteY1" fmla="*/ 557 h 1286971"/>
              <a:gd name="connsiteX2" fmla="*/ 3511626 w 4007535"/>
              <a:gd name="connsiteY2" fmla="*/ 1286679 h 1286971"/>
              <a:gd name="connsiteX3" fmla="*/ 17517 w 4007535"/>
              <a:gd name="connsiteY3" fmla="*/ 1286971 h 1286971"/>
              <a:gd name="connsiteX4" fmla="*/ 0 w 4007535"/>
              <a:gd name="connsiteY4" fmla="*/ 0 h 1286971"/>
              <a:gd name="connsiteX0" fmla="*/ 0 w 4007535"/>
              <a:gd name="connsiteY0" fmla="*/ 0 h 1286971"/>
              <a:gd name="connsiteX1" fmla="*/ 4007535 w 4007535"/>
              <a:gd name="connsiteY1" fmla="*/ 557 h 1286971"/>
              <a:gd name="connsiteX2" fmla="*/ 3511626 w 4007535"/>
              <a:gd name="connsiteY2" fmla="*/ 1286679 h 1286971"/>
              <a:gd name="connsiteX3" fmla="*/ 17517 w 4007535"/>
              <a:gd name="connsiteY3" fmla="*/ 1286971 h 1286971"/>
              <a:gd name="connsiteX4" fmla="*/ 0 w 4007535"/>
              <a:gd name="connsiteY4" fmla="*/ 0 h 1286971"/>
              <a:gd name="connsiteX0" fmla="*/ 0 w 4007535"/>
              <a:gd name="connsiteY0" fmla="*/ 0 h 1286971"/>
              <a:gd name="connsiteX1" fmla="*/ 4007535 w 4007535"/>
              <a:gd name="connsiteY1" fmla="*/ 557 h 1286971"/>
              <a:gd name="connsiteX2" fmla="*/ 3511626 w 4007535"/>
              <a:gd name="connsiteY2" fmla="*/ 1286679 h 1286971"/>
              <a:gd name="connsiteX3" fmla="*/ 17517 w 4007535"/>
              <a:gd name="connsiteY3" fmla="*/ 1286971 h 1286971"/>
              <a:gd name="connsiteX4" fmla="*/ 0 w 4007535"/>
              <a:gd name="connsiteY4" fmla="*/ 0 h 1286971"/>
              <a:gd name="connsiteX0" fmla="*/ 0 w 3528674"/>
              <a:gd name="connsiteY0" fmla="*/ 0 h 1286971"/>
              <a:gd name="connsiteX1" fmla="*/ 3528674 w 3528674"/>
              <a:gd name="connsiteY1" fmla="*/ 557 h 1286971"/>
              <a:gd name="connsiteX2" fmla="*/ 3511626 w 3528674"/>
              <a:gd name="connsiteY2" fmla="*/ 1286679 h 1286971"/>
              <a:gd name="connsiteX3" fmla="*/ 17517 w 3528674"/>
              <a:gd name="connsiteY3" fmla="*/ 1286971 h 1286971"/>
              <a:gd name="connsiteX4" fmla="*/ 0 w 3528674"/>
              <a:gd name="connsiteY4" fmla="*/ 0 h 1286971"/>
              <a:gd name="connsiteX0" fmla="*/ 0 w 4106256"/>
              <a:gd name="connsiteY0" fmla="*/ 0 h 1286971"/>
              <a:gd name="connsiteX1" fmla="*/ 3528674 w 4106256"/>
              <a:gd name="connsiteY1" fmla="*/ 557 h 1286971"/>
              <a:gd name="connsiteX2" fmla="*/ 4106256 w 4106256"/>
              <a:gd name="connsiteY2" fmla="*/ 1264598 h 1286971"/>
              <a:gd name="connsiteX3" fmla="*/ 17517 w 4106256"/>
              <a:gd name="connsiteY3" fmla="*/ 1286971 h 1286971"/>
              <a:gd name="connsiteX4" fmla="*/ 0 w 4106256"/>
              <a:gd name="connsiteY4" fmla="*/ 0 h 1286971"/>
              <a:gd name="connsiteX0" fmla="*/ 0 w 4090469"/>
              <a:gd name="connsiteY0" fmla="*/ 0 h 1286971"/>
              <a:gd name="connsiteX1" fmla="*/ 3528674 w 4090469"/>
              <a:gd name="connsiteY1" fmla="*/ 557 h 1286971"/>
              <a:gd name="connsiteX2" fmla="*/ 4090469 w 4090469"/>
              <a:gd name="connsiteY2" fmla="*/ 1286679 h 1286971"/>
              <a:gd name="connsiteX3" fmla="*/ 17517 w 4090469"/>
              <a:gd name="connsiteY3" fmla="*/ 1286971 h 1286971"/>
              <a:gd name="connsiteX4" fmla="*/ 0 w 4090469"/>
              <a:gd name="connsiteY4" fmla="*/ 0 h 1286971"/>
              <a:gd name="connsiteX0" fmla="*/ 0 w 3924408"/>
              <a:gd name="connsiteY0" fmla="*/ 0 h 1286971"/>
              <a:gd name="connsiteX1" fmla="*/ 3528674 w 3924408"/>
              <a:gd name="connsiteY1" fmla="*/ 557 h 1286971"/>
              <a:gd name="connsiteX2" fmla="*/ 3924408 w 3924408"/>
              <a:gd name="connsiteY2" fmla="*/ 1286679 h 1286971"/>
              <a:gd name="connsiteX3" fmla="*/ 17517 w 3924408"/>
              <a:gd name="connsiteY3" fmla="*/ 1286971 h 1286971"/>
              <a:gd name="connsiteX4" fmla="*/ 0 w 3924408"/>
              <a:gd name="connsiteY4" fmla="*/ 0 h 1286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24408" h="1286971">
                <a:moveTo>
                  <a:pt x="0" y="0"/>
                </a:moveTo>
                <a:lnTo>
                  <a:pt x="3528674" y="557"/>
                </a:lnTo>
                <a:lnTo>
                  <a:pt x="3924408" y="1286679"/>
                </a:lnTo>
                <a:lnTo>
                  <a:pt x="17517" y="1286971"/>
                </a:lnTo>
                <a:cubicBezTo>
                  <a:pt x="11101" y="713023"/>
                  <a:pt x="18706" y="657355"/>
                  <a:pt x="0" y="0"/>
                </a:cubicBezTo>
                <a:close/>
              </a:path>
            </a:pathLst>
          </a:custGeom>
          <a:solidFill>
            <a:srgbClr val="3D99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FA84A2E-3EBB-C0F1-2733-428C90B49B96}"/>
              </a:ext>
            </a:extLst>
          </p:cNvPr>
          <p:cNvSpPr txBox="1"/>
          <p:nvPr userDrawn="1"/>
        </p:nvSpPr>
        <p:spPr>
          <a:xfrm>
            <a:off x="9098413" y="775062"/>
            <a:ext cx="272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b="0" spc="0" dirty="0">
                <a:solidFill>
                  <a:schemeClr val="bg1"/>
                </a:solidFill>
                <a:latin typeface="Montserrat" panose="00000500000000000000" pitchFamily="2" charset="0"/>
              </a:rPr>
              <a:t>KEYNOTE</a:t>
            </a:r>
            <a:endParaRPr lang="bg-BG" sz="1800" b="0" spc="0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1517F2-57C4-E552-7F20-54BC89A3DA7F}"/>
              </a:ext>
            </a:extLst>
          </p:cNvPr>
          <p:cNvSpPr txBox="1"/>
          <p:nvPr userDrawn="1"/>
        </p:nvSpPr>
        <p:spPr>
          <a:xfrm>
            <a:off x="1583705" y="648943"/>
            <a:ext cx="21846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0" dirty="0">
                <a:solidFill>
                  <a:schemeClr val="bg1"/>
                </a:solidFill>
                <a:latin typeface="Montserrat" panose="00000500000000000000" pitchFamily="2" charset="0"/>
              </a:rPr>
              <a:t>MILAN </a:t>
            </a:r>
            <a:r>
              <a:rPr lang="bg-BG" sz="1400" b="0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sz="1800" b="0" dirty="0">
                <a:solidFill>
                  <a:srgbClr val="FF9E1D"/>
                </a:solidFill>
                <a:latin typeface="Montserrat" panose="00000500000000000000" pitchFamily="2" charset="0"/>
              </a:rPr>
              <a:t>|</a:t>
            </a:r>
            <a:r>
              <a:rPr lang="en-US" sz="1400" b="0" dirty="0">
                <a:solidFill>
                  <a:schemeClr val="bg1"/>
                </a:solidFill>
                <a:latin typeface="Montserrat" panose="00000500000000000000" pitchFamily="2" charset="0"/>
              </a:rPr>
              <a:t>  May 23 - 24</a:t>
            </a:r>
            <a:endParaRPr lang="bg-BG" sz="1400" b="0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CC7A3E-137A-807C-7534-E7FDB676C9AE}"/>
              </a:ext>
            </a:extLst>
          </p:cNvPr>
          <p:cNvCxnSpPr>
            <a:cxnSpLocks/>
            <a:stCxn id="9" idx="2"/>
            <a:endCxn id="9" idx="1"/>
          </p:cNvCxnSpPr>
          <p:nvPr userDrawn="1"/>
        </p:nvCxnSpPr>
        <p:spPr>
          <a:xfrm>
            <a:off x="9471263" y="674515"/>
            <a:ext cx="278072" cy="547388"/>
          </a:xfrm>
          <a:prstGeom prst="line">
            <a:avLst/>
          </a:prstGeom>
          <a:ln w="25400" cap="flat">
            <a:solidFill>
              <a:srgbClr val="F88E00"/>
            </a:solidFill>
            <a:beve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80FEA6C-00D0-CBA1-52BB-D69F884854D8}"/>
              </a:ext>
            </a:extLst>
          </p:cNvPr>
          <p:cNvCxnSpPr>
            <a:cxnSpLocks/>
            <a:stCxn id="18" idx="1"/>
            <a:endCxn id="18" idx="2"/>
          </p:cNvCxnSpPr>
          <p:nvPr userDrawn="1"/>
        </p:nvCxnSpPr>
        <p:spPr>
          <a:xfrm>
            <a:off x="4114326" y="-401"/>
            <a:ext cx="621306" cy="1221335"/>
          </a:xfrm>
          <a:prstGeom prst="line">
            <a:avLst/>
          </a:prstGeom>
          <a:ln w="25400">
            <a:solidFill>
              <a:srgbClr val="F88E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A2A6F287-7BC0-F879-91AE-5CFD4B7E4A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907" y="215112"/>
            <a:ext cx="3492781" cy="49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5367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162492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1.emf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oleObject" Target="../embeddings/oleObject1.bin"/><Relationship Id="rId2" Type="http://schemas.openxmlformats.org/officeDocument/2006/relationships/theme" Target="../theme/theme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tags" Target="../tags/tag468.xml"/><Relationship Id="rId26" Type="http://schemas.openxmlformats.org/officeDocument/2006/relationships/tags" Target="../tags/tag476.xml"/><Relationship Id="rId39" Type="http://schemas.openxmlformats.org/officeDocument/2006/relationships/image" Target="../media/image1.emf"/><Relationship Id="rId21" Type="http://schemas.openxmlformats.org/officeDocument/2006/relationships/tags" Target="../tags/tag471.xml"/><Relationship Id="rId34" Type="http://schemas.openxmlformats.org/officeDocument/2006/relationships/tags" Target="../tags/tag484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ags" Target="../tags/tag467.xml"/><Relationship Id="rId25" Type="http://schemas.openxmlformats.org/officeDocument/2006/relationships/tags" Target="../tags/tag475.xml"/><Relationship Id="rId33" Type="http://schemas.openxmlformats.org/officeDocument/2006/relationships/tags" Target="../tags/tag483.xml"/><Relationship Id="rId38" Type="http://schemas.openxmlformats.org/officeDocument/2006/relationships/oleObject" Target="../embeddings/oleObject34.bin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466.xml"/><Relationship Id="rId20" Type="http://schemas.openxmlformats.org/officeDocument/2006/relationships/tags" Target="../tags/tag470.xml"/><Relationship Id="rId29" Type="http://schemas.openxmlformats.org/officeDocument/2006/relationships/tags" Target="../tags/tag479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474.xml"/><Relationship Id="rId32" Type="http://schemas.openxmlformats.org/officeDocument/2006/relationships/tags" Target="../tags/tag482.xml"/><Relationship Id="rId37" Type="http://schemas.openxmlformats.org/officeDocument/2006/relationships/tags" Target="../tags/tag487.xml"/><Relationship Id="rId5" Type="http://schemas.openxmlformats.org/officeDocument/2006/relationships/slideLayout" Target="../slideLayouts/slideLayout40.xml"/><Relationship Id="rId15" Type="http://schemas.openxmlformats.org/officeDocument/2006/relationships/theme" Target="../theme/theme10.xml"/><Relationship Id="rId23" Type="http://schemas.openxmlformats.org/officeDocument/2006/relationships/tags" Target="../tags/tag473.xml"/><Relationship Id="rId28" Type="http://schemas.openxmlformats.org/officeDocument/2006/relationships/tags" Target="../tags/tag478.xml"/><Relationship Id="rId36" Type="http://schemas.openxmlformats.org/officeDocument/2006/relationships/tags" Target="../tags/tag486.xml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469.xml"/><Relationship Id="rId31" Type="http://schemas.openxmlformats.org/officeDocument/2006/relationships/tags" Target="../tags/tag48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ags" Target="../tags/tag472.xml"/><Relationship Id="rId27" Type="http://schemas.openxmlformats.org/officeDocument/2006/relationships/tags" Target="../tags/tag477.xml"/><Relationship Id="rId30" Type="http://schemas.openxmlformats.org/officeDocument/2006/relationships/tags" Target="../tags/tag480.xml"/><Relationship Id="rId35" Type="http://schemas.openxmlformats.org/officeDocument/2006/relationships/tags" Target="../tags/tag485.x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tags" Target="../tags/tag584.xml"/><Relationship Id="rId26" Type="http://schemas.openxmlformats.org/officeDocument/2006/relationships/tags" Target="../tags/tag592.xml"/><Relationship Id="rId39" Type="http://schemas.openxmlformats.org/officeDocument/2006/relationships/image" Target="../media/image1.emf"/><Relationship Id="rId21" Type="http://schemas.openxmlformats.org/officeDocument/2006/relationships/tags" Target="../tags/tag587.xml"/><Relationship Id="rId34" Type="http://schemas.openxmlformats.org/officeDocument/2006/relationships/tags" Target="../tags/tag60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ags" Target="../tags/tag583.xml"/><Relationship Id="rId25" Type="http://schemas.openxmlformats.org/officeDocument/2006/relationships/tags" Target="../tags/tag591.xml"/><Relationship Id="rId33" Type="http://schemas.openxmlformats.org/officeDocument/2006/relationships/tags" Target="../tags/tag599.xml"/><Relationship Id="rId38" Type="http://schemas.openxmlformats.org/officeDocument/2006/relationships/oleObject" Target="../embeddings/oleObject45.bin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582.xml"/><Relationship Id="rId20" Type="http://schemas.openxmlformats.org/officeDocument/2006/relationships/tags" Target="../tags/tag586.xml"/><Relationship Id="rId29" Type="http://schemas.openxmlformats.org/officeDocument/2006/relationships/tags" Target="../tags/tag59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ags" Target="../tags/tag590.xml"/><Relationship Id="rId32" Type="http://schemas.openxmlformats.org/officeDocument/2006/relationships/tags" Target="../tags/tag598.xml"/><Relationship Id="rId37" Type="http://schemas.openxmlformats.org/officeDocument/2006/relationships/tags" Target="../tags/tag603.xml"/><Relationship Id="rId5" Type="http://schemas.openxmlformats.org/officeDocument/2006/relationships/slideLayout" Target="../slideLayouts/slideLayout54.xml"/><Relationship Id="rId15" Type="http://schemas.openxmlformats.org/officeDocument/2006/relationships/theme" Target="../theme/theme11.xml"/><Relationship Id="rId23" Type="http://schemas.openxmlformats.org/officeDocument/2006/relationships/tags" Target="../tags/tag589.xml"/><Relationship Id="rId28" Type="http://schemas.openxmlformats.org/officeDocument/2006/relationships/tags" Target="../tags/tag594.xml"/><Relationship Id="rId36" Type="http://schemas.openxmlformats.org/officeDocument/2006/relationships/tags" Target="../tags/tag602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585.xml"/><Relationship Id="rId31" Type="http://schemas.openxmlformats.org/officeDocument/2006/relationships/tags" Target="../tags/tag597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tags" Target="../tags/tag588.xml"/><Relationship Id="rId27" Type="http://schemas.openxmlformats.org/officeDocument/2006/relationships/tags" Target="../tags/tag593.xml"/><Relationship Id="rId30" Type="http://schemas.openxmlformats.org/officeDocument/2006/relationships/tags" Target="../tags/tag596.xml"/><Relationship Id="rId35" Type="http://schemas.openxmlformats.org/officeDocument/2006/relationships/tags" Target="../tags/tag601.xml"/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theme" Target="../theme/theme12.xml"/><Relationship Id="rId26" Type="http://schemas.openxmlformats.org/officeDocument/2006/relationships/tags" Target="../tags/tag708.xml"/><Relationship Id="rId39" Type="http://schemas.openxmlformats.org/officeDocument/2006/relationships/oleObject" Target="../embeddings/oleObject56.bin"/><Relationship Id="rId21" Type="http://schemas.openxmlformats.org/officeDocument/2006/relationships/tags" Target="../tags/tag703.xml"/><Relationship Id="rId34" Type="http://schemas.openxmlformats.org/officeDocument/2006/relationships/tags" Target="../tags/tag71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tags" Target="../tags/tag707.xml"/><Relationship Id="rId33" Type="http://schemas.openxmlformats.org/officeDocument/2006/relationships/tags" Target="../tags/tag715.xml"/><Relationship Id="rId38" Type="http://schemas.openxmlformats.org/officeDocument/2006/relationships/tags" Target="../tags/tag72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tags" Target="../tags/tag702.xml"/><Relationship Id="rId29" Type="http://schemas.openxmlformats.org/officeDocument/2006/relationships/tags" Target="../tags/tag711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tags" Target="../tags/tag706.xml"/><Relationship Id="rId32" Type="http://schemas.openxmlformats.org/officeDocument/2006/relationships/tags" Target="../tags/tag714.xml"/><Relationship Id="rId37" Type="http://schemas.openxmlformats.org/officeDocument/2006/relationships/tags" Target="../tags/tag719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tags" Target="../tags/tag705.xml"/><Relationship Id="rId28" Type="http://schemas.openxmlformats.org/officeDocument/2006/relationships/tags" Target="../tags/tag710.xml"/><Relationship Id="rId36" Type="http://schemas.openxmlformats.org/officeDocument/2006/relationships/tags" Target="../tags/tag718.xml"/><Relationship Id="rId10" Type="http://schemas.openxmlformats.org/officeDocument/2006/relationships/slideLayout" Target="../slideLayouts/slideLayout73.xml"/><Relationship Id="rId19" Type="http://schemas.openxmlformats.org/officeDocument/2006/relationships/tags" Target="../tags/tag701.xml"/><Relationship Id="rId31" Type="http://schemas.openxmlformats.org/officeDocument/2006/relationships/tags" Target="../tags/tag71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tags" Target="../tags/tag704.xml"/><Relationship Id="rId27" Type="http://schemas.openxmlformats.org/officeDocument/2006/relationships/tags" Target="../tags/tag709.xml"/><Relationship Id="rId30" Type="http://schemas.openxmlformats.org/officeDocument/2006/relationships/tags" Target="../tags/tag712.xml"/><Relationship Id="rId35" Type="http://schemas.openxmlformats.org/officeDocument/2006/relationships/tags" Target="../tags/tag717.xml"/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oleObject" Target="../embeddings/oleObject3.bin"/><Relationship Id="rId3" Type="http://schemas.openxmlformats.org/officeDocument/2006/relationships/theme" Target="../theme/theme2.xml"/><Relationship Id="rId21" Type="http://schemas.openxmlformats.org/officeDocument/2006/relationships/tags" Target="../tags/tag48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2" Type="http://schemas.openxmlformats.org/officeDocument/2006/relationships/slideLayout" Target="../slideLayouts/slideLayout3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tags" Target="../tags/tag87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tags" Target="../tags/tag86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tags" Target="../tags/tag85.xml"/><Relationship Id="rId5" Type="http://schemas.openxmlformats.org/officeDocument/2006/relationships/theme" Target="../theme/theme3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28" Type="http://schemas.openxmlformats.org/officeDocument/2006/relationships/oleObject" Target="../embeddings/oleObject5.bin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Relationship Id="rId27" Type="http://schemas.openxmlformats.org/officeDocument/2006/relationships/tags" Target="../tags/tag8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image" Target="../media/image1.emf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oleObject" Target="../embeddings/oleObject7.bin"/><Relationship Id="rId2" Type="http://schemas.openxmlformats.org/officeDocument/2006/relationships/theme" Target="../theme/theme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26" Type="http://schemas.openxmlformats.org/officeDocument/2006/relationships/oleObject" Target="../embeddings/oleObject9.bin"/><Relationship Id="rId3" Type="http://schemas.openxmlformats.org/officeDocument/2006/relationships/theme" Target="../theme/theme5.xml"/><Relationship Id="rId21" Type="http://schemas.openxmlformats.org/officeDocument/2006/relationships/tags" Target="../tags/tag152.xml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147.xml"/><Relationship Id="rId20" Type="http://schemas.openxmlformats.org/officeDocument/2006/relationships/tags" Target="../tags/tag151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24" Type="http://schemas.openxmlformats.org/officeDocument/2006/relationships/tags" Target="../tags/tag155.xml"/><Relationship Id="rId5" Type="http://schemas.openxmlformats.org/officeDocument/2006/relationships/tags" Target="../tags/tag136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10" Type="http://schemas.openxmlformats.org/officeDocument/2006/relationships/tags" Target="../tags/tag141.xml"/><Relationship Id="rId19" Type="http://schemas.openxmlformats.org/officeDocument/2006/relationships/tags" Target="../tags/tag150.xml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tags" Target="../tags/tag153.xml"/><Relationship Id="rId27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tags" Target="../tags/tag177.xml"/><Relationship Id="rId18" Type="http://schemas.openxmlformats.org/officeDocument/2006/relationships/tags" Target="../tags/tag182.xml"/><Relationship Id="rId26" Type="http://schemas.openxmlformats.org/officeDocument/2006/relationships/oleObject" Target="../embeddings/oleObject11.bin"/><Relationship Id="rId3" Type="http://schemas.openxmlformats.org/officeDocument/2006/relationships/theme" Target="../theme/theme6.xml"/><Relationship Id="rId21" Type="http://schemas.openxmlformats.org/officeDocument/2006/relationships/tags" Target="../tags/tag185.xml"/><Relationship Id="rId7" Type="http://schemas.openxmlformats.org/officeDocument/2006/relationships/tags" Target="../tags/tag171.xml"/><Relationship Id="rId12" Type="http://schemas.openxmlformats.org/officeDocument/2006/relationships/tags" Target="../tags/tag176.xml"/><Relationship Id="rId17" Type="http://schemas.openxmlformats.org/officeDocument/2006/relationships/tags" Target="../tags/tag181.xml"/><Relationship Id="rId25" Type="http://schemas.openxmlformats.org/officeDocument/2006/relationships/tags" Target="../tags/tag189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180.xml"/><Relationship Id="rId20" Type="http://schemas.openxmlformats.org/officeDocument/2006/relationships/tags" Target="../tags/tag184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170.xml"/><Relationship Id="rId11" Type="http://schemas.openxmlformats.org/officeDocument/2006/relationships/tags" Target="../tags/tag175.xml"/><Relationship Id="rId24" Type="http://schemas.openxmlformats.org/officeDocument/2006/relationships/tags" Target="../tags/tag188.xml"/><Relationship Id="rId5" Type="http://schemas.openxmlformats.org/officeDocument/2006/relationships/tags" Target="../tags/tag169.xml"/><Relationship Id="rId15" Type="http://schemas.openxmlformats.org/officeDocument/2006/relationships/tags" Target="../tags/tag179.xml"/><Relationship Id="rId23" Type="http://schemas.openxmlformats.org/officeDocument/2006/relationships/tags" Target="../tags/tag187.xml"/><Relationship Id="rId10" Type="http://schemas.openxmlformats.org/officeDocument/2006/relationships/tags" Target="../tags/tag174.xml"/><Relationship Id="rId19" Type="http://schemas.openxmlformats.org/officeDocument/2006/relationships/tags" Target="../tags/tag183.xml"/><Relationship Id="rId4" Type="http://schemas.openxmlformats.org/officeDocument/2006/relationships/tags" Target="../tags/tag168.xml"/><Relationship Id="rId9" Type="http://schemas.openxmlformats.org/officeDocument/2006/relationships/tags" Target="../tags/tag173.xml"/><Relationship Id="rId14" Type="http://schemas.openxmlformats.org/officeDocument/2006/relationships/tags" Target="../tags/tag178.xml"/><Relationship Id="rId22" Type="http://schemas.openxmlformats.org/officeDocument/2006/relationships/tags" Target="../tags/tag186.xml"/><Relationship Id="rId27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18" Type="http://schemas.openxmlformats.org/officeDocument/2006/relationships/tags" Target="../tags/tag217.xml"/><Relationship Id="rId26" Type="http://schemas.openxmlformats.org/officeDocument/2006/relationships/oleObject" Target="../embeddings/oleObject13.bin"/><Relationship Id="rId3" Type="http://schemas.openxmlformats.org/officeDocument/2006/relationships/tags" Target="../tags/tag202.xml"/><Relationship Id="rId21" Type="http://schemas.openxmlformats.org/officeDocument/2006/relationships/tags" Target="../tags/tag220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tags" Target="../tags/tag216.xml"/><Relationship Id="rId25" Type="http://schemas.openxmlformats.org/officeDocument/2006/relationships/tags" Target="../tags/tag224.xml"/><Relationship Id="rId2" Type="http://schemas.openxmlformats.org/officeDocument/2006/relationships/theme" Target="../theme/theme7.xml"/><Relationship Id="rId16" Type="http://schemas.openxmlformats.org/officeDocument/2006/relationships/tags" Target="../tags/tag215.xml"/><Relationship Id="rId20" Type="http://schemas.openxmlformats.org/officeDocument/2006/relationships/tags" Target="../tags/tag219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24" Type="http://schemas.openxmlformats.org/officeDocument/2006/relationships/tags" Target="../tags/tag223.xml"/><Relationship Id="rId5" Type="http://schemas.openxmlformats.org/officeDocument/2006/relationships/tags" Target="../tags/tag204.xml"/><Relationship Id="rId15" Type="http://schemas.openxmlformats.org/officeDocument/2006/relationships/tags" Target="../tags/tag214.xml"/><Relationship Id="rId23" Type="http://schemas.openxmlformats.org/officeDocument/2006/relationships/tags" Target="../tags/tag222.xml"/><Relationship Id="rId10" Type="http://schemas.openxmlformats.org/officeDocument/2006/relationships/tags" Target="../tags/tag209.xml"/><Relationship Id="rId19" Type="http://schemas.openxmlformats.org/officeDocument/2006/relationships/tags" Target="../tags/tag218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Relationship Id="rId22" Type="http://schemas.openxmlformats.org/officeDocument/2006/relationships/tags" Target="../tags/tag221.xml"/><Relationship Id="rId27" Type="http://schemas.openxmlformats.org/officeDocument/2006/relationships/image" Target="../media/image2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13" Type="http://schemas.openxmlformats.org/officeDocument/2006/relationships/tags" Target="../tags/tag249.xml"/><Relationship Id="rId18" Type="http://schemas.openxmlformats.org/officeDocument/2006/relationships/tags" Target="../tags/tag254.xml"/><Relationship Id="rId3" Type="http://schemas.openxmlformats.org/officeDocument/2006/relationships/tags" Target="../tags/tag239.xml"/><Relationship Id="rId21" Type="http://schemas.openxmlformats.org/officeDocument/2006/relationships/tags" Target="../tags/tag257.xml"/><Relationship Id="rId7" Type="http://schemas.openxmlformats.org/officeDocument/2006/relationships/tags" Target="../tags/tag243.xml"/><Relationship Id="rId12" Type="http://schemas.openxmlformats.org/officeDocument/2006/relationships/tags" Target="../tags/tag248.xml"/><Relationship Id="rId17" Type="http://schemas.openxmlformats.org/officeDocument/2006/relationships/tags" Target="../tags/tag253.xml"/><Relationship Id="rId25" Type="http://schemas.openxmlformats.org/officeDocument/2006/relationships/image" Target="../media/image1.emf"/><Relationship Id="rId2" Type="http://schemas.openxmlformats.org/officeDocument/2006/relationships/tags" Target="../tags/tag238.xml"/><Relationship Id="rId16" Type="http://schemas.openxmlformats.org/officeDocument/2006/relationships/tags" Target="../tags/tag252.xml"/><Relationship Id="rId20" Type="http://schemas.openxmlformats.org/officeDocument/2006/relationships/tags" Target="../tags/tag256.xml"/><Relationship Id="rId1" Type="http://schemas.openxmlformats.org/officeDocument/2006/relationships/theme" Target="../theme/theme8.xml"/><Relationship Id="rId6" Type="http://schemas.openxmlformats.org/officeDocument/2006/relationships/tags" Target="../tags/tag242.xml"/><Relationship Id="rId11" Type="http://schemas.openxmlformats.org/officeDocument/2006/relationships/tags" Target="../tags/tag247.xml"/><Relationship Id="rId24" Type="http://schemas.openxmlformats.org/officeDocument/2006/relationships/oleObject" Target="../embeddings/oleObject15.bin"/><Relationship Id="rId5" Type="http://schemas.openxmlformats.org/officeDocument/2006/relationships/tags" Target="../tags/tag241.xml"/><Relationship Id="rId15" Type="http://schemas.openxmlformats.org/officeDocument/2006/relationships/tags" Target="../tags/tag251.xml"/><Relationship Id="rId23" Type="http://schemas.openxmlformats.org/officeDocument/2006/relationships/tags" Target="../tags/tag259.xml"/><Relationship Id="rId10" Type="http://schemas.openxmlformats.org/officeDocument/2006/relationships/tags" Target="../tags/tag246.xml"/><Relationship Id="rId19" Type="http://schemas.openxmlformats.org/officeDocument/2006/relationships/tags" Target="../tags/tag255.xml"/><Relationship Id="rId4" Type="http://schemas.openxmlformats.org/officeDocument/2006/relationships/tags" Target="../tags/tag240.xml"/><Relationship Id="rId9" Type="http://schemas.openxmlformats.org/officeDocument/2006/relationships/tags" Target="../tags/tag245.xml"/><Relationship Id="rId14" Type="http://schemas.openxmlformats.org/officeDocument/2006/relationships/tags" Target="../tags/tag250.xml"/><Relationship Id="rId22" Type="http://schemas.openxmlformats.org/officeDocument/2006/relationships/tags" Target="../tags/tag258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tags" Target="../tags/tag262.xml"/><Relationship Id="rId39" Type="http://schemas.openxmlformats.org/officeDocument/2006/relationships/tags" Target="../tags/tag275.xml"/><Relationship Id="rId21" Type="http://schemas.openxmlformats.org/officeDocument/2006/relationships/slideLayout" Target="../slideLayouts/slideLayout34.xml"/><Relationship Id="rId34" Type="http://schemas.openxmlformats.org/officeDocument/2006/relationships/tags" Target="../tags/tag270.xml"/><Relationship Id="rId42" Type="http://schemas.openxmlformats.org/officeDocument/2006/relationships/tags" Target="../tags/tag278.xml"/><Relationship Id="rId47" Type="http://schemas.openxmlformats.org/officeDocument/2006/relationships/oleObject" Target="../embeddings/oleObject16.bin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tags" Target="../tags/tag26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260.xml"/><Relationship Id="rId32" Type="http://schemas.openxmlformats.org/officeDocument/2006/relationships/tags" Target="../tags/tag268.xml"/><Relationship Id="rId37" Type="http://schemas.openxmlformats.org/officeDocument/2006/relationships/tags" Target="../tags/tag273.xml"/><Relationship Id="rId40" Type="http://schemas.openxmlformats.org/officeDocument/2006/relationships/tags" Target="../tags/tag276.xml"/><Relationship Id="rId45" Type="http://schemas.openxmlformats.org/officeDocument/2006/relationships/tags" Target="../tags/tag281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heme" Target="../theme/theme9.xml"/><Relationship Id="rId28" Type="http://schemas.openxmlformats.org/officeDocument/2006/relationships/tags" Target="../tags/tag264.xml"/><Relationship Id="rId36" Type="http://schemas.openxmlformats.org/officeDocument/2006/relationships/tags" Target="../tags/tag272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tags" Target="../tags/tag267.xml"/><Relationship Id="rId44" Type="http://schemas.openxmlformats.org/officeDocument/2006/relationships/tags" Target="../tags/tag280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tags" Target="../tags/tag263.xml"/><Relationship Id="rId30" Type="http://schemas.openxmlformats.org/officeDocument/2006/relationships/tags" Target="../tags/tag266.xml"/><Relationship Id="rId35" Type="http://schemas.openxmlformats.org/officeDocument/2006/relationships/tags" Target="../tags/tag271.xml"/><Relationship Id="rId43" Type="http://schemas.openxmlformats.org/officeDocument/2006/relationships/tags" Target="../tags/tag279.xml"/><Relationship Id="rId48" Type="http://schemas.openxmlformats.org/officeDocument/2006/relationships/image" Target="../media/image2.emf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tags" Target="../tags/tag261.xml"/><Relationship Id="rId33" Type="http://schemas.openxmlformats.org/officeDocument/2006/relationships/tags" Target="../tags/tag269.xml"/><Relationship Id="rId38" Type="http://schemas.openxmlformats.org/officeDocument/2006/relationships/tags" Target="../tags/tag274.xml"/><Relationship Id="rId46" Type="http://schemas.openxmlformats.org/officeDocument/2006/relationships/tags" Target="../tags/tag282.xml"/><Relationship Id="rId20" Type="http://schemas.openxmlformats.org/officeDocument/2006/relationships/slideLayout" Target="../slideLayouts/slideLayout33.xml"/><Relationship Id="rId41" Type="http://schemas.openxmlformats.org/officeDocument/2006/relationships/tags" Target="../tags/tag2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9725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lideLogoText">
            <a:extLst>
              <a:ext uri="{FF2B5EF4-FFF2-40B4-BE49-F238E27FC236}">
                <a16:creationId xmlns:a16="http://schemas.microsoft.com/office/drawing/2014/main" id="{BA0C812B-FD9D-3AC8-A7D5-F4F3F8DBC50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1521968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7" r:id="rId1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79725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lideLogoText">
            <a:extLst>
              <a:ext uri="{FF2B5EF4-FFF2-40B4-BE49-F238E27FC236}">
                <a16:creationId xmlns:a16="http://schemas.microsoft.com/office/drawing/2014/main" id="{86AB9053-F814-DCF1-E36B-36CD07BD00B1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9975794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3440299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  <p:sldLayoutId id="2147484315" r:id="rId9"/>
    <p:sldLayoutId id="2147484316" r:id="rId10"/>
    <p:sldLayoutId id="2147484317" r:id="rId11"/>
    <p:sldLayoutId id="2147484318" r:id="rId12"/>
    <p:sldLayoutId id="2147484319" r:id="rId13"/>
    <p:sldLayoutId id="2147484320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lideLogoText">
            <a:extLst>
              <a:ext uri="{FF2B5EF4-FFF2-40B4-BE49-F238E27FC236}">
                <a16:creationId xmlns:a16="http://schemas.microsoft.com/office/drawing/2014/main" id="{081A15C1-AFCD-E1C0-D33F-4FFFFE997E3D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9975794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1304577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4323" r:id="rId2"/>
    <p:sldLayoutId id="2147484324" r:id="rId3"/>
    <p:sldLayoutId id="2147484325" r:id="rId4"/>
    <p:sldLayoutId id="2147484326" r:id="rId5"/>
    <p:sldLayoutId id="2147484327" r:id="rId6"/>
    <p:sldLayoutId id="2147484328" r:id="rId7"/>
    <p:sldLayoutId id="2147484329" r:id="rId8"/>
    <p:sldLayoutId id="2147484330" r:id="rId9"/>
    <p:sldLayoutId id="2147484331" r:id="rId10"/>
    <p:sldLayoutId id="2147484332" r:id="rId11"/>
    <p:sldLayoutId id="2147484333" r:id="rId12"/>
    <p:sldLayoutId id="2147484334" r:id="rId13"/>
    <p:sldLayoutId id="2147484335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7474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10059149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it-IT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555200" y="3243600"/>
            <a:ext cx="1269335" cy="958286"/>
            <a:chOff x="4372690" y="3739101"/>
            <a:chExt cx="126933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baseline="0" dirty="0">
                <a:latin typeface="+mn-lt"/>
                <a:ea typeface="+mn-ea"/>
              </a:endParaRP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11AD06D9-8259-1016-2EBC-3FECFA603565}"/>
              </a:ext>
            </a:extLst>
          </p:cNvPr>
          <p:cNvGrpSpPr/>
          <p:nvPr userDrawn="1"/>
        </p:nvGrpSpPr>
        <p:grpSpPr>
          <a:xfrm>
            <a:off x="10555200" y="1344168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0B517616-F412-AA9A-983F-70E9A07EB8FD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DBC97D6B-40AF-460E-016A-56DD1E7AA1BA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84D9F14D-8D7F-08FC-ED83-01855439681B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8B9061BC-9D17-F6F9-C1B2-5DC35114E504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A5E59814-4DA1-36E8-B828-A6F96228FFF1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00AE754A-CECF-4CA2-2422-E82C468890BB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85633709-6740-DBC5-9636-23EE80154B9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1D6F8919-425B-558F-29A9-811436E50C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D7124F33-9070-9A89-C223-D2910A83FB5D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B78419C-60A0-CA4A-574D-46E4407F88F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10F498F-7536-E201-49E7-60BEEF7DB09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39B251B9-DA11-90EF-CC79-AAF0EE1F576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7AFCA24C-2FDD-3020-691A-4A1FC86C192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94BBF58C-D75E-8B6C-EE36-681B187B976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4FB47F82-172C-27D2-8778-5F991C68E5C4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2C2B4959-4681-91B5-6192-E20BF3826B6E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8367BCC7-3BD3-2A89-8004-F188CB191CE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172646E1-4786-B73E-C983-A2EA70390F3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AE83A968-D331-625E-E939-539081BC54C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34572622-7269-5E27-B6F0-29959E509C9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FD186F18-55A4-4C07-9BF5-E04E0294E0A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6972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F2858F3F-9D33-4229-8290-EAA49213273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it-IT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it-IT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01185558-CDA3-4A96-95B5-70AC8329EE0F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10791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7" r:id="rId1"/>
    <p:sldLayoutId id="2147484338" r:id="rId2"/>
    <p:sldLayoutId id="2147484339" r:id="rId3"/>
    <p:sldLayoutId id="2147484340" r:id="rId4"/>
    <p:sldLayoutId id="2147484341" r:id="rId5"/>
    <p:sldLayoutId id="2147484342" r:id="rId6"/>
    <p:sldLayoutId id="2147484343" r:id="rId7"/>
    <p:sldLayoutId id="2147484344" r:id="rId8"/>
    <p:sldLayoutId id="2147484345" r:id="rId9"/>
    <p:sldLayoutId id="2147484346" r:id="rId10"/>
    <p:sldLayoutId id="2147484347" r:id="rId11"/>
    <p:sldLayoutId id="2147484348" r:id="rId12"/>
    <p:sldLayoutId id="2147484349" r:id="rId13"/>
    <p:sldLayoutId id="2147484350" r:id="rId14"/>
    <p:sldLayoutId id="2147484351" r:id="rId15"/>
    <p:sldLayoutId id="2147484352" r:id="rId16"/>
    <p:sldLayoutId id="2147484353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5803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975793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lideLogoText">
            <a:extLst>
              <a:ext uri="{FF2B5EF4-FFF2-40B4-BE49-F238E27FC236}">
                <a16:creationId xmlns:a16="http://schemas.microsoft.com/office/drawing/2014/main" id="{AB7FE84F-301D-FDEA-252F-77D910E4EE61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570603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5" r:id="rId2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4040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44" imgH="344" progId="TCLayout.ActiveDocument.1">
                  <p:embed/>
                </p:oleObj>
              </mc:Choice>
              <mc:Fallback>
                <p:oleObj name="think-cell Slide" r:id="rId28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176" name="SlideLogoText" hidden="1">
            <a:extLst>
              <a:ext uri="{FF2B5EF4-FFF2-40B4-BE49-F238E27FC236}">
                <a16:creationId xmlns:a16="http://schemas.microsoft.com/office/drawing/2014/main" id="{8BFF1E7D-F984-4364-A36E-B58D9E4117A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black"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A362738F-7C7D-1914-F65A-FFF348562D2B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75677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8" r:id="rId1"/>
    <p:sldLayoutId id="2147484191" r:id="rId2"/>
    <p:sldLayoutId id="2147484273" r:id="rId3"/>
    <p:sldLayoutId id="2147484275" r:id="rId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lideLogoText">
            <a:extLst>
              <a:ext uri="{FF2B5EF4-FFF2-40B4-BE49-F238E27FC236}">
                <a16:creationId xmlns:a16="http://schemas.microsoft.com/office/drawing/2014/main" id="{F324C53F-AB30-946B-D5C8-4E773874E313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2721305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5" r:id="rId1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9725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lideLogoText">
            <a:extLst>
              <a:ext uri="{FF2B5EF4-FFF2-40B4-BE49-F238E27FC236}">
                <a16:creationId xmlns:a16="http://schemas.microsoft.com/office/drawing/2014/main" id="{FFBECF56-B71C-C42D-E947-889E9A0439E0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02115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1433266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3" r:id="rId2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507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4" imgH="344" progId="TCLayout.ActiveDocument.1">
                  <p:embed/>
                </p:oleObj>
              </mc:Choice>
              <mc:Fallback>
                <p:oleObj name="think-cell Slide" r:id="rId2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lideLogoText">
            <a:extLst>
              <a:ext uri="{FF2B5EF4-FFF2-40B4-BE49-F238E27FC236}">
                <a16:creationId xmlns:a16="http://schemas.microsoft.com/office/drawing/2014/main" id="{F5D1C12C-9971-3945-B281-D6A647A945BE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0059151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</p:spTree>
    <p:extLst>
      <p:ext uri="{BB962C8B-B14F-4D97-AF65-F5344CB8AC3E}">
        <p14:creationId xmlns:p14="http://schemas.microsoft.com/office/powerpoint/2010/main" val="229104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8" r:id="rId1"/>
    <p:sldLayoutId id="2147484231" r:id="rId2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2708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4" imgH="344" progId="TCLayout.ActiveDocument.1">
                  <p:embed/>
                </p:oleObj>
              </mc:Choice>
              <mc:Fallback>
                <p:oleObj name="think-cell Slide" r:id="rId2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9975794" y="6499381"/>
            <a:ext cx="130163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Health Institute</a:t>
            </a: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4274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5" r:id="rId1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25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3" imgH="416" progId="TCLayout.ActiveDocument.1">
                  <p:embed/>
                </p:oleObj>
              </mc:Choice>
              <mc:Fallback>
                <p:oleObj name="think-cell Slide" r:id="rId2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lide Number">
            <a:extLst>
              <a:ext uri="{FF2B5EF4-FFF2-40B4-BE49-F238E27FC236}">
                <a16:creationId xmlns:a16="http://schemas.microsoft.com/office/drawing/2014/main" id="{24E785D2-F711-A65B-B918-26899E707B5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9074727" y="6498754"/>
            <a:ext cx="25633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McKinsey Sans" panose="020B0504020101020102" pitchFamily="34" charset="0"/>
                <a:sym typeface=""/>
              </a:rPr>
              <a:t>McKinsey Health Institute    </a:t>
            </a: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6378533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44" imgH="344" progId="TCLayout.ActiveDocument.1">
                  <p:embed/>
                </p:oleObj>
              </mc:Choice>
              <mc:Fallback>
                <p:oleObj name="think-cell Slide" r:id="rId47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8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30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0976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  <p:sldLayoutId id="2147484295" r:id="rId12"/>
    <p:sldLayoutId id="2147484296" r:id="rId13"/>
    <p:sldLayoutId id="2147484297" r:id="rId14"/>
    <p:sldLayoutId id="2147484298" r:id="rId15"/>
    <p:sldLayoutId id="2147484299" r:id="rId16"/>
    <p:sldLayoutId id="2147484300" r:id="rId17"/>
    <p:sldLayoutId id="2147484301" r:id="rId18"/>
    <p:sldLayoutId id="2147484302" r:id="rId19"/>
    <p:sldLayoutId id="2147484303" r:id="rId20"/>
    <p:sldLayoutId id="2147484304" r:id="rId21"/>
    <p:sldLayoutId id="2147484305" r:id="rId22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815.xml"/><Relationship Id="rId7" Type="http://schemas.openxmlformats.org/officeDocument/2006/relationships/oleObject" Target="../embeddings/oleObject67.bin"/><Relationship Id="rId2" Type="http://schemas.openxmlformats.org/officeDocument/2006/relationships/tags" Target="../tags/tag814.xml"/><Relationship Id="rId1" Type="http://schemas.openxmlformats.org/officeDocument/2006/relationships/tags" Target="../tags/tag813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4.xml"/><Relationship Id="rId10" Type="http://schemas.microsoft.com/office/2007/relationships/hdphoto" Target="../media/hdphoto1.wdp"/><Relationship Id="rId4" Type="http://schemas.openxmlformats.org/officeDocument/2006/relationships/tags" Target="../tags/tag816.xml"/><Relationship Id="rId9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image" Target="../media/image34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tags" Target="../tags/tag818.xml"/><Relationship Id="rId1" Type="http://schemas.openxmlformats.org/officeDocument/2006/relationships/tags" Target="../tags/tag817.xml"/><Relationship Id="rId6" Type="http://schemas.openxmlformats.org/officeDocument/2006/relationships/image" Target="../media/image9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68.bin"/><Relationship Id="rId10" Type="http://schemas.openxmlformats.org/officeDocument/2006/relationships/image" Target="../media/image31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0.png"/><Relationship Id="rId14" Type="http://schemas.openxmlformats.org/officeDocument/2006/relationships/image" Target="../media/image3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821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820.xml"/><Relationship Id="rId1" Type="http://schemas.openxmlformats.org/officeDocument/2006/relationships/tags" Target="../tags/tag819.xml"/><Relationship Id="rId6" Type="http://schemas.openxmlformats.org/officeDocument/2006/relationships/tags" Target="../tags/tag824.xml"/><Relationship Id="rId5" Type="http://schemas.openxmlformats.org/officeDocument/2006/relationships/tags" Target="../tags/tag823.xml"/><Relationship Id="rId10" Type="http://schemas.openxmlformats.org/officeDocument/2006/relationships/image" Target="../media/image11.emf"/><Relationship Id="rId4" Type="http://schemas.openxmlformats.org/officeDocument/2006/relationships/tags" Target="../tags/tag822.xml"/><Relationship Id="rId9" Type="http://schemas.openxmlformats.org/officeDocument/2006/relationships/oleObject" Target="../embeddings/oleObject6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827.xml"/><Relationship Id="rId7" Type="http://schemas.openxmlformats.org/officeDocument/2006/relationships/image" Target="../media/image36.emf"/><Relationship Id="rId2" Type="http://schemas.openxmlformats.org/officeDocument/2006/relationships/tags" Target="../tags/tag826.xml"/><Relationship Id="rId1" Type="http://schemas.openxmlformats.org/officeDocument/2006/relationships/tags" Target="../tags/tag825.xml"/><Relationship Id="rId6" Type="http://schemas.openxmlformats.org/officeDocument/2006/relationships/oleObject" Target="../embeddings/oleObject70.bin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8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31.xml"/><Relationship Id="rId2" Type="http://schemas.openxmlformats.org/officeDocument/2006/relationships/tags" Target="../tags/tag830.xml"/><Relationship Id="rId1" Type="http://schemas.openxmlformats.org/officeDocument/2006/relationships/tags" Target="../tags/tag82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1.bin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41.png"/><Relationship Id="rId3" Type="http://schemas.openxmlformats.org/officeDocument/2006/relationships/tags" Target="../tags/tag834.xml"/><Relationship Id="rId7" Type="http://schemas.openxmlformats.org/officeDocument/2006/relationships/tags" Target="../tags/tag838.xml"/><Relationship Id="rId12" Type="http://schemas.openxmlformats.org/officeDocument/2006/relationships/image" Target="../media/image40.svg"/><Relationship Id="rId2" Type="http://schemas.openxmlformats.org/officeDocument/2006/relationships/tags" Target="../tags/tag833.xml"/><Relationship Id="rId1" Type="http://schemas.openxmlformats.org/officeDocument/2006/relationships/tags" Target="../tags/tag832.xml"/><Relationship Id="rId6" Type="http://schemas.openxmlformats.org/officeDocument/2006/relationships/tags" Target="../tags/tag837.xml"/><Relationship Id="rId11" Type="http://schemas.openxmlformats.org/officeDocument/2006/relationships/image" Target="../media/image39.png"/><Relationship Id="rId5" Type="http://schemas.openxmlformats.org/officeDocument/2006/relationships/tags" Target="../tags/tag836.xml"/><Relationship Id="rId10" Type="http://schemas.openxmlformats.org/officeDocument/2006/relationships/image" Target="../media/image38.emf"/><Relationship Id="rId4" Type="http://schemas.openxmlformats.org/officeDocument/2006/relationships/tags" Target="../tags/tag835.xml"/><Relationship Id="rId9" Type="http://schemas.openxmlformats.org/officeDocument/2006/relationships/oleObject" Target="../embeddings/oleObject72.bin"/><Relationship Id="rId14" Type="http://schemas.openxmlformats.org/officeDocument/2006/relationships/image" Target="../media/image42.sv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51.xml"/><Relationship Id="rId18" Type="http://schemas.openxmlformats.org/officeDocument/2006/relationships/tags" Target="../tags/tag856.xml"/><Relationship Id="rId26" Type="http://schemas.openxmlformats.org/officeDocument/2006/relationships/tags" Target="../tags/tag864.xml"/><Relationship Id="rId39" Type="http://schemas.openxmlformats.org/officeDocument/2006/relationships/image" Target="../media/image49.png"/><Relationship Id="rId21" Type="http://schemas.openxmlformats.org/officeDocument/2006/relationships/tags" Target="../tags/tag859.xml"/><Relationship Id="rId34" Type="http://schemas.openxmlformats.org/officeDocument/2006/relationships/image" Target="../media/image44.svg"/><Relationship Id="rId42" Type="http://schemas.openxmlformats.org/officeDocument/2006/relationships/image" Target="../media/image52.svg"/><Relationship Id="rId7" Type="http://schemas.openxmlformats.org/officeDocument/2006/relationships/tags" Target="../tags/tag845.xml"/><Relationship Id="rId2" Type="http://schemas.openxmlformats.org/officeDocument/2006/relationships/tags" Target="../tags/tag840.xml"/><Relationship Id="rId16" Type="http://schemas.openxmlformats.org/officeDocument/2006/relationships/tags" Target="../tags/tag854.xml"/><Relationship Id="rId20" Type="http://schemas.openxmlformats.org/officeDocument/2006/relationships/tags" Target="../tags/tag858.xml"/><Relationship Id="rId29" Type="http://schemas.openxmlformats.org/officeDocument/2006/relationships/tags" Target="../tags/tag867.xml"/><Relationship Id="rId41" Type="http://schemas.openxmlformats.org/officeDocument/2006/relationships/image" Target="../media/image51.png"/><Relationship Id="rId1" Type="http://schemas.openxmlformats.org/officeDocument/2006/relationships/tags" Target="../tags/tag839.xml"/><Relationship Id="rId6" Type="http://schemas.openxmlformats.org/officeDocument/2006/relationships/tags" Target="../tags/tag844.xml"/><Relationship Id="rId11" Type="http://schemas.openxmlformats.org/officeDocument/2006/relationships/tags" Target="../tags/tag849.xml"/><Relationship Id="rId24" Type="http://schemas.openxmlformats.org/officeDocument/2006/relationships/tags" Target="../tags/tag862.xml"/><Relationship Id="rId32" Type="http://schemas.openxmlformats.org/officeDocument/2006/relationships/image" Target="../media/image36.emf"/><Relationship Id="rId37" Type="http://schemas.openxmlformats.org/officeDocument/2006/relationships/image" Target="../media/image47.png"/><Relationship Id="rId40" Type="http://schemas.openxmlformats.org/officeDocument/2006/relationships/image" Target="../media/image50.svg"/><Relationship Id="rId5" Type="http://schemas.openxmlformats.org/officeDocument/2006/relationships/tags" Target="../tags/tag843.xml"/><Relationship Id="rId15" Type="http://schemas.openxmlformats.org/officeDocument/2006/relationships/tags" Target="../tags/tag853.xml"/><Relationship Id="rId23" Type="http://schemas.openxmlformats.org/officeDocument/2006/relationships/tags" Target="../tags/tag861.xml"/><Relationship Id="rId28" Type="http://schemas.openxmlformats.org/officeDocument/2006/relationships/tags" Target="../tags/tag866.xml"/><Relationship Id="rId36" Type="http://schemas.openxmlformats.org/officeDocument/2006/relationships/image" Target="../media/image46.svg"/><Relationship Id="rId10" Type="http://schemas.openxmlformats.org/officeDocument/2006/relationships/tags" Target="../tags/tag848.xml"/><Relationship Id="rId19" Type="http://schemas.openxmlformats.org/officeDocument/2006/relationships/tags" Target="../tags/tag857.xml"/><Relationship Id="rId31" Type="http://schemas.openxmlformats.org/officeDocument/2006/relationships/oleObject" Target="../embeddings/oleObject73.bin"/><Relationship Id="rId44" Type="http://schemas.openxmlformats.org/officeDocument/2006/relationships/image" Target="../media/image54.svg"/><Relationship Id="rId4" Type="http://schemas.openxmlformats.org/officeDocument/2006/relationships/tags" Target="../tags/tag842.xml"/><Relationship Id="rId9" Type="http://schemas.openxmlformats.org/officeDocument/2006/relationships/tags" Target="../tags/tag847.xml"/><Relationship Id="rId14" Type="http://schemas.openxmlformats.org/officeDocument/2006/relationships/tags" Target="../tags/tag852.xml"/><Relationship Id="rId22" Type="http://schemas.openxmlformats.org/officeDocument/2006/relationships/tags" Target="../tags/tag860.xml"/><Relationship Id="rId27" Type="http://schemas.openxmlformats.org/officeDocument/2006/relationships/tags" Target="../tags/tag865.xml"/><Relationship Id="rId30" Type="http://schemas.openxmlformats.org/officeDocument/2006/relationships/slideLayout" Target="../slideLayouts/slideLayout1.xml"/><Relationship Id="rId35" Type="http://schemas.openxmlformats.org/officeDocument/2006/relationships/image" Target="../media/image45.png"/><Relationship Id="rId43" Type="http://schemas.openxmlformats.org/officeDocument/2006/relationships/image" Target="../media/image53.png"/><Relationship Id="rId8" Type="http://schemas.openxmlformats.org/officeDocument/2006/relationships/tags" Target="../tags/tag846.xml"/><Relationship Id="rId3" Type="http://schemas.openxmlformats.org/officeDocument/2006/relationships/tags" Target="../tags/tag841.xml"/><Relationship Id="rId12" Type="http://schemas.openxmlformats.org/officeDocument/2006/relationships/tags" Target="../tags/tag850.xml"/><Relationship Id="rId17" Type="http://schemas.openxmlformats.org/officeDocument/2006/relationships/tags" Target="../tags/tag855.xml"/><Relationship Id="rId25" Type="http://schemas.openxmlformats.org/officeDocument/2006/relationships/tags" Target="../tags/tag863.xml"/><Relationship Id="rId33" Type="http://schemas.openxmlformats.org/officeDocument/2006/relationships/image" Target="../media/image43.png"/><Relationship Id="rId38" Type="http://schemas.openxmlformats.org/officeDocument/2006/relationships/image" Target="../media/image4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870.xml"/><Relationship Id="rId7" Type="http://schemas.openxmlformats.org/officeDocument/2006/relationships/image" Target="../media/image8.emf"/><Relationship Id="rId2" Type="http://schemas.openxmlformats.org/officeDocument/2006/relationships/tags" Target="../tags/tag869.xml"/><Relationship Id="rId1" Type="http://schemas.openxmlformats.org/officeDocument/2006/relationships/tags" Target="../tags/tag868.xml"/><Relationship Id="rId6" Type="http://schemas.openxmlformats.org/officeDocument/2006/relationships/oleObject" Target="../embeddings/oleObject74.bin"/><Relationship Id="rId5" Type="http://schemas.openxmlformats.org/officeDocument/2006/relationships/slideLayout" Target="../slideLayouts/slideLayout76.xml"/><Relationship Id="rId4" Type="http://schemas.openxmlformats.org/officeDocument/2006/relationships/tags" Target="../tags/tag87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www.mckinsey.com/mhi/focus-areas/brain-health/employee-mental-health-and-well-being/employee-health-platform" TargetMode="External"/><Relationship Id="rId12" Type="http://schemas.openxmlformats.org/officeDocument/2006/relationships/image" Target="../media/image57.png"/><Relationship Id="rId2" Type="http://schemas.openxmlformats.org/officeDocument/2006/relationships/tags" Target="../tags/tag873.xml"/><Relationship Id="rId1" Type="http://schemas.openxmlformats.org/officeDocument/2006/relationships/tags" Target="../tags/tag872.xml"/><Relationship Id="rId6" Type="http://schemas.openxmlformats.org/officeDocument/2006/relationships/image" Target="../media/image8.emf"/><Relationship Id="rId11" Type="http://schemas.openxmlformats.org/officeDocument/2006/relationships/hyperlink" Target="https://www.linkedin.com/showcase/mckinseyhealthinstitute/" TargetMode="External"/><Relationship Id="rId5" Type="http://schemas.openxmlformats.org/officeDocument/2006/relationships/oleObject" Target="../embeddings/oleObject75.bin"/><Relationship Id="rId10" Type="http://schemas.openxmlformats.org/officeDocument/2006/relationships/image" Target="../media/image56.png"/><Relationship Id="rId4" Type="http://schemas.openxmlformats.org/officeDocument/2006/relationships/notesSlide" Target="../notesSlides/notesSlide4.xml"/><Relationship Id="rId9" Type="http://schemas.openxmlformats.org/officeDocument/2006/relationships/hyperlink" Target="https://www.mckinsey.com/mhi/focus-areas/brain-health/employee-mental-health-and-well-be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322" name="Object 2" hidden="1">
            <a:extLst>
              <a:ext uri="{FF2B5EF4-FFF2-40B4-BE49-F238E27FC236}">
                <a16:creationId xmlns:a16="http://schemas.microsoft.com/office/drawing/2014/main" id="{B524D800-9D8B-4BAA-960F-18584D9916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8572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6322" name="Object 2" hidden="1">
                        <a:extLst>
                          <a:ext uri="{FF2B5EF4-FFF2-40B4-BE49-F238E27FC236}">
                            <a16:creationId xmlns:a16="http://schemas.microsoft.com/office/drawing/2014/main" id="{B524D800-9D8B-4BAA-960F-18584D99166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>
            <a:extLst>
              <a:ext uri="{FF2B5EF4-FFF2-40B4-BE49-F238E27FC236}">
                <a16:creationId xmlns:a16="http://schemas.microsoft.com/office/drawing/2014/main" id="{286EF025-680F-0ABB-F163-A9784D06D8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6042" b="70052" l="0" r="99349">
                        <a14:foregroundMark x1="130" y1="34049" x2="8529" y2="37891"/>
                        <a14:foregroundMark x1="98307" y1="26042" x2="90039" y2="31576"/>
                        <a14:foregroundMark x1="98307" y1="47786" x2="99349" y2="47526"/>
                        <a14:foregroundMark x1="37240" y1="58268" x2="37240" y2="58268"/>
                        <a14:foregroundMark x1="38411" y1="59701" x2="38411" y2="59701"/>
                        <a14:foregroundMark x1="38151" y1="59049" x2="38021" y2="59831"/>
                        <a14:foregroundMark x1="37044" y1="58008" x2="37044" y2="58398"/>
                        <a14:foregroundMark x1="37240" y1="58789" x2="36393" y2="57031"/>
                        <a14:backgroundMark x1="33594" y1="49870" x2="33594" y2="49870"/>
                        <a14:backgroundMark x1="38867" y1="47786" x2="38867" y2="47786"/>
                        <a14:backgroundMark x1="53841" y1="56185" x2="53841" y2="56185"/>
                        <a14:backgroundMark x1="59766" y1="60221" x2="59766" y2="60221"/>
                        <a14:backgroundMark x1="64388" y1="55990" x2="64388" y2="55990"/>
                        <a14:backgroundMark x1="37066" y1="58268" x2="37731" y2="58980"/>
                        <a14:backgroundMark x1="35547" y1="56641" x2="37066" y2="58268"/>
                        <a14:backgroundMark x1="52734" y1="41146" x2="52734" y2="41146"/>
                        <a14:backgroundMark x1="52018" y1="41406" x2="52018" y2="41406"/>
                        <a14:backgroundMark x1="37630" y1="60156" x2="37630" y2="60156"/>
                        <a14:backgroundMark x1="61523" y1="59570" x2="61523" y2="59570"/>
                        <a14:backgroundMark x1="61784" y1="59701" x2="61784" y2="5970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103" b="24561"/>
          <a:stretch/>
        </p:blipFill>
        <p:spPr bwMode="auto">
          <a:xfrm rot="16200000">
            <a:off x="5462878" y="1634272"/>
            <a:ext cx="6858164" cy="3589291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2AEE64-6CBD-42B4-BDEA-3BC1F757D77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56325" name="Subtitle">
            <a:extLst>
              <a:ext uri="{FF2B5EF4-FFF2-40B4-BE49-F238E27FC236}">
                <a16:creationId xmlns:a16="http://schemas.microsoft.com/office/drawing/2014/main" id="{01DFB443-C60B-4BC5-A8D8-6C2750B8CFE8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2450" y="4092575"/>
            <a:ext cx="6016625" cy="307777"/>
          </a:xfrm>
        </p:spPr>
        <p:txBody>
          <a:bodyPr>
            <a:spAutoFit/>
          </a:bodyPr>
          <a:lstStyle/>
          <a:p>
            <a:r>
              <a:rPr lang="en-US" altLang="en-US" dirty="0"/>
              <a:t>May 2024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9BA6DA16-6848-427F-9ED2-CB9A4071E74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2450" y="2426309"/>
            <a:ext cx="7153275" cy="1545616"/>
          </a:xfrm>
        </p:spPr>
        <p:txBody>
          <a:bodyPr vert="horz" rtlCol="0">
            <a:spAutoFit/>
          </a:bodyPr>
          <a:lstStyle/>
          <a:p>
            <a:pPr fontAlgn="auto"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3600" dirty="0"/>
              <a:t>Reframing Employee </a:t>
            </a:r>
            <a:r>
              <a:rPr lang="en-US" sz="3600" err="1"/>
              <a:t>Health</a:t>
            </a:r>
            <a:r>
              <a:rPr lang="en-US" sz="3600"/>
              <a:t>: Moving </a:t>
            </a:r>
            <a:r>
              <a:rPr lang="en-US" sz="3600" dirty="0"/>
              <a:t>Beyond </a:t>
            </a:r>
            <a:r>
              <a:rPr lang="en-US" sz="3600"/>
              <a:t>Burnout to Holistic </a:t>
            </a:r>
            <a:r>
              <a:rPr lang="en-US" sz="3600" dirty="0"/>
              <a:t>Health</a:t>
            </a:r>
          </a:p>
        </p:txBody>
      </p:sp>
      <p:pic>
        <p:nvPicPr>
          <p:cNvPr id="56327" name="Picture 7">
            <a:extLst>
              <a:ext uri="{FF2B5EF4-FFF2-40B4-BE49-F238E27FC236}">
                <a16:creationId xmlns:a16="http://schemas.microsoft.com/office/drawing/2014/main" id="{CCFE3756-E4FA-4B79-B49F-AF1BD6A48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3050" y="515938"/>
            <a:ext cx="2474913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062B6DE-7A0B-DA08-0AEA-D9F55DFEC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Kana Enomoto, Director of Brain Health at the McKinsey Health Institut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372F9990-B1CF-43F2-9C38-F433B0874E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903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3" hidden="1">
                        <a:extLst>
                          <a:ext uri="{FF2B5EF4-FFF2-40B4-BE49-F238E27FC236}">
                            <a16:creationId xmlns:a16="http://schemas.microsoft.com/office/drawing/2014/main" id="{372F9990-B1CF-43F2-9C38-F433B0874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257E7D8-868D-5CE2-C4AD-149EB1B2F447}"/>
              </a:ext>
            </a:extLst>
          </p:cNvPr>
          <p:cNvSpPr txBox="1">
            <a:spLocks/>
          </p:cNvSpPr>
          <p:nvPr/>
        </p:nvSpPr>
        <p:spPr>
          <a:xfrm>
            <a:off x="4075074" y="5596650"/>
            <a:ext cx="1580963" cy="55399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ea typeface="+mn-ea"/>
                <a:cs typeface="McKinsey Sans" panose="020B0504020101020102" pitchFamily="34" charset="0"/>
              </a:rPr>
              <a:t>Advance resear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0C8D40-9F45-D78A-5E54-8BA364F80852}"/>
              </a:ext>
            </a:extLst>
          </p:cNvPr>
          <p:cNvSpPr txBox="1">
            <a:spLocks/>
          </p:cNvSpPr>
          <p:nvPr/>
        </p:nvSpPr>
        <p:spPr>
          <a:xfrm>
            <a:off x="6429347" y="5627429"/>
            <a:ext cx="2103883" cy="83099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ea typeface="+mn-ea"/>
                <a:cs typeface="McKinsey Sans" panose="020B0504020101020102" pitchFamily="34" charset="0"/>
              </a:rPr>
              <a:t>Create and promote open-access data assets</a:t>
            </a: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ea typeface="+mn-ea"/>
              <a:cs typeface="McKinsey Sans" panose="020B0504020101020102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F82D65-9A7A-A885-280A-543442F00D9C}"/>
              </a:ext>
            </a:extLst>
          </p:cNvPr>
          <p:cNvSpPr txBox="1">
            <a:spLocks/>
          </p:cNvSpPr>
          <p:nvPr/>
        </p:nvSpPr>
        <p:spPr>
          <a:xfrm>
            <a:off x="9126760" y="5596651"/>
            <a:ext cx="2103881" cy="55399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ea typeface="+mn-ea"/>
                <a:cs typeface="McKinsey Sans" panose="020B0504020101020102" pitchFamily="34" charset="0"/>
              </a:rPr>
              <a:t>Stimulate innov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99875F-3E56-8473-DB46-4E803F749678}"/>
              </a:ext>
            </a:extLst>
          </p:cNvPr>
          <p:cNvSpPr txBox="1">
            <a:spLocks/>
          </p:cNvSpPr>
          <p:nvPr/>
        </p:nvSpPr>
        <p:spPr>
          <a:xfrm>
            <a:off x="1138291" y="5596650"/>
            <a:ext cx="1971798" cy="55399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ea typeface="+mn-ea"/>
                <a:cs typeface="McKinsey Sans" panose="020B0504020101020102" pitchFamily="34" charset="0"/>
              </a:rPr>
              <a:t>Convene and enable leader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D7D9399-14FA-20A9-DF83-22A29A1B0B19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29107" y="4548540"/>
            <a:ext cx="790167" cy="83266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F1DCE54-C0F6-85D3-1614-6357753E78A3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83617" y="4548540"/>
            <a:ext cx="790167" cy="832668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3EEEF2C-B325-80B5-E7F3-7F51B5E32AD3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70472" y="4548540"/>
            <a:ext cx="790167" cy="83266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C519B0A-0E4C-32BB-5E55-05B3C0B458C7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086205" y="4548540"/>
            <a:ext cx="790167" cy="83266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7D58761-D5B2-F825-391B-33B7EC4E375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552072" y="930543"/>
            <a:ext cx="11057222" cy="129729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sz="1867" baseline="0">
                <a:latin typeface="+mn-lt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67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867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867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ea typeface="+mn-ea"/>
                <a:cs typeface="+mn-cs"/>
              </a:rPr>
              <a:t>The McKinsey Health Institute (MHI) is an endur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</a:rPr>
              <a:t>non-profit-generating ent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  <a:p>
            <a:pPr marL="0" marR="0" lvl="0" indent="0" algn="l" defTabSz="8953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ea typeface="+mn-ea"/>
                <a:cs typeface="+mn-cs"/>
              </a:rPr>
              <a:t>MHI believes, over the next decade, humanity could add as much a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</a:rPr>
              <a:t>45 billion extra years of higher-quality lif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ea typeface="+mn-ea"/>
                <a:cs typeface="+mn-cs"/>
              </a:rPr>
              <a:t>which is roughly six years per person on average —and substantially more in some countries and populations </a:t>
            </a:r>
          </a:p>
          <a:p>
            <a:pPr marL="0" marR="0" lvl="0" indent="0" algn="l" defTabSz="8953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ea typeface="+mn-ea"/>
                <a:cs typeface="+mn-cs"/>
              </a:rPr>
              <a:t>MHI’s mission is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</a:rPr>
              <a:t>catalyz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</a:rPr>
              <a:t>the action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ea typeface="+mn-ea"/>
                <a:cs typeface="+mn-cs"/>
              </a:rPr>
              <a:t>needed across continents, sectors, and communities to realize this possibility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CBEEA61-4BC3-E7C4-0767-5F9DAD41C122}"/>
              </a:ext>
            </a:extLst>
          </p:cNvPr>
          <p:cNvSpPr txBox="1"/>
          <p:nvPr/>
        </p:nvSpPr>
        <p:spPr>
          <a:xfrm>
            <a:off x="552072" y="398774"/>
            <a:ext cx="4064000" cy="4001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Who we a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6D9AE0-67B1-27F3-E809-D831B70005D4}"/>
              </a:ext>
            </a:extLst>
          </p:cNvPr>
          <p:cNvSpPr txBox="1"/>
          <p:nvPr/>
        </p:nvSpPr>
        <p:spPr>
          <a:xfrm>
            <a:off x="552072" y="4016771"/>
            <a:ext cx="4064000" cy="4001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What we d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FCEA3D-75DF-7313-28C0-CFF40B42C071}"/>
              </a:ext>
            </a:extLst>
          </p:cNvPr>
          <p:cNvSpPr txBox="1"/>
          <p:nvPr/>
        </p:nvSpPr>
        <p:spPr>
          <a:xfrm>
            <a:off x="552072" y="2560178"/>
            <a:ext cx="4064000" cy="4001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What we focus 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89DF8C-2D27-B4F6-A4CA-BA6B6D4C213D}"/>
              </a:ext>
            </a:extLst>
          </p:cNvPr>
          <p:cNvGrpSpPr/>
          <p:nvPr/>
        </p:nvGrpSpPr>
        <p:grpSpPr>
          <a:xfrm>
            <a:off x="554736" y="3091947"/>
            <a:ext cx="11085192" cy="724140"/>
            <a:chOff x="554736" y="3354830"/>
            <a:chExt cx="7942871" cy="592481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AA5296A-E919-2A7B-C026-5A238A95BC49}"/>
                </a:ext>
              </a:extLst>
            </p:cNvPr>
            <p:cNvGrpSpPr/>
            <p:nvPr/>
          </p:nvGrpSpPr>
          <p:grpSpPr>
            <a:xfrm>
              <a:off x="2194018" y="3369377"/>
              <a:ext cx="1915589" cy="577270"/>
              <a:chOff x="2701584" y="3807125"/>
              <a:chExt cx="1915589" cy="577270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5E1753EA-3D83-7287-E288-0F6C00D443E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701584" y="3807125"/>
                <a:ext cx="1915589" cy="24622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t" anchorCtr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Tx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/>
                    <a:ea typeface="+mn-ea"/>
                    <a:cs typeface="McKinsey Sans" panose="020B0504020101020102" pitchFamily="34" charset="0"/>
                  </a:rPr>
                  <a:t>Infectious Diseases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1BF74D0-49A0-1EEA-23AB-ECB6057C730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701584" y="4138174"/>
                <a:ext cx="1402628" cy="24622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b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Tx/>
                  <a:buFont typeface="Segoe UI" panose="020B0502040204020203" pitchFamily="34" charset="0"/>
                  <a:buNone/>
                  <a:tabLst/>
                  <a:defRPr/>
                </a:pPr>
                <a:r>
                  <a:rPr kumimoji="0" lang="sv-SE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/>
                    <a:ea typeface="+mn-ea"/>
                    <a:cs typeface="McKinsey Sans" panose="020B0504020101020102" pitchFamily="34" charset="0"/>
                  </a:rPr>
                  <a:t>Healthy Living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E4C1218-DF82-5522-7C3D-731FEC78C21D}"/>
                </a:ext>
              </a:extLst>
            </p:cNvPr>
            <p:cNvGrpSpPr/>
            <p:nvPr/>
          </p:nvGrpSpPr>
          <p:grpSpPr>
            <a:xfrm>
              <a:off x="4179549" y="3369377"/>
              <a:ext cx="2721386" cy="577934"/>
              <a:chOff x="4539894" y="3807125"/>
              <a:chExt cx="2721386" cy="577934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1D72823A-82D6-2BC8-E89C-B9879F6F6A7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9894" y="3807125"/>
                <a:ext cx="2721386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b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Tx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sv-SE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/>
                    <a:ea typeface="+mn-ea"/>
                    <a:cs typeface="McKinsey Sans" panose="020B0504020101020102" pitchFamily="34" charset="0"/>
                  </a:rPr>
                  <a:t>Healthcare Worker Capacity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C8B9CDF1-A13B-4335-FE54-162B3D8C057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9894" y="4138838"/>
                <a:ext cx="2224968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b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Tx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sv-SE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/>
                    <a:ea typeface="+mn-ea"/>
                    <a:cs typeface="McKinsey Sans" panose="020B0504020101020102" pitchFamily="34" charset="0"/>
                  </a:rPr>
                  <a:t>Sustainability &amp; Health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52C8186-9053-E6ED-6F52-15ED82995684}"/>
                </a:ext>
              </a:extLst>
            </p:cNvPr>
            <p:cNvSpPr txBox="1">
              <a:spLocks/>
            </p:cNvSpPr>
            <p:nvPr/>
          </p:nvSpPr>
          <p:spPr>
            <a:xfrm>
              <a:off x="6871941" y="3388073"/>
              <a:ext cx="1625666" cy="215444"/>
            </a:xfrm>
            <a:prstGeom prst="rect">
              <a:avLst/>
            </a:prstGeom>
          </p:spPr>
          <p:txBody>
            <a:bodyPr vert="horz" wrap="non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sv-SE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McKinsey Sans" panose="020B0504020101020102" pitchFamily="34" charset="0"/>
                </a:rPr>
                <a:t>Healthy longevity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C1B9B8F-CF27-B266-5819-42712235C428}"/>
                </a:ext>
              </a:extLst>
            </p:cNvPr>
            <p:cNvGrpSpPr/>
            <p:nvPr/>
          </p:nvGrpSpPr>
          <p:grpSpPr>
            <a:xfrm>
              <a:off x="554736" y="3354830"/>
              <a:ext cx="1516441" cy="591817"/>
              <a:chOff x="389871" y="3792578"/>
              <a:chExt cx="1516441" cy="591817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9AE565F-6654-14C7-22B2-27EB1D35FE7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9871" y="3792578"/>
                <a:ext cx="1208664" cy="24622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b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Tx/>
                  <a:buFont typeface="Segoe UI" panose="020B0502040204020203" pitchFamily="34" charset="0"/>
                  <a:buNone/>
                  <a:tabLst/>
                  <a:defRPr/>
                </a:pPr>
                <a:r>
                  <a:rPr kumimoji="0" lang="sv-SE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/>
                    <a:ea typeface="+mn-ea"/>
                    <a:cs typeface="McKinsey Sans" panose="020B0504020101020102" pitchFamily="34" charset="0"/>
                  </a:rPr>
                  <a:t>Brain Health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A201B62-3D22-3F7D-319F-C8220DCAEFC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9871" y="4138174"/>
                <a:ext cx="1516441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b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Tx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sv-SE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/>
                    <a:ea typeface="+mn-ea"/>
                    <a:cs typeface="McKinsey Sans" panose="020B0504020101020102" pitchFamily="34" charset="0"/>
                  </a:rPr>
                  <a:t>Equity &amp; Health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9541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1312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D9F735-CF19-D94C-6905-8E35222E6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556102"/>
            <a:ext cx="11082528" cy="3577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IN" dirty="0"/>
              <a:t>MHI views holistic health in four dimensions</a:t>
            </a:r>
            <a:endParaRPr lang="en-GB" dirty="0"/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4FC28D07-BE88-0D36-BCE8-0FD3D5864468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4" name="4. Footnote">
            <a:extLst>
              <a:ext uri="{FF2B5EF4-FFF2-40B4-BE49-F238E27FC236}">
                <a16:creationId xmlns:a16="http://schemas.microsoft.com/office/drawing/2014/main" id="{955E3426-B1E6-DE15-D0FD-FE5E2B75819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3972" y="6602878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McKinsey Sans" panose="020B0504020101020102" pitchFamily="34" charset="0"/>
              </a:rPr>
              <a:t>Note: Grounded in the WHO definition: “a state of complete physical, mental and social well-being and not merely the absence of disease or infirm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McKinsey Sans" panose="020B0504020101020102" pitchFamily="34" charset="0"/>
            </a:endParaRPr>
          </a:p>
        </p:txBody>
      </p: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4682A6A2-189D-0F0B-F6A3-927FF045595E}"/>
              </a:ext>
            </a:extLst>
          </p:cNvPr>
          <p:cNvGrpSpPr/>
          <p:nvPr/>
        </p:nvGrpSpPr>
        <p:grpSpPr>
          <a:xfrm>
            <a:off x="6366710" y="1058157"/>
            <a:ext cx="4524627" cy="4227661"/>
            <a:chOff x="321269" y="826944"/>
            <a:chExt cx="5327308" cy="5124759"/>
          </a:xfrm>
        </p:grpSpPr>
        <p:sp>
          <p:nvSpPr>
            <p:cNvPr id="23" name="Customer value proposition">
              <a:extLst>
                <a:ext uri="{FF2B5EF4-FFF2-40B4-BE49-F238E27FC236}">
                  <a16:creationId xmlns:a16="http://schemas.microsoft.com/office/drawing/2014/main" id="{C5984326-2F75-F3F6-C9FC-518C68DE269A}"/>
                </a:ext>
              </a:extLst>
            </p:cNvPr>
            <p:cNvSpPr txBox="1">
              <a:spLocks/>
            </p:cNvSpPr>
            <p:nvPr/>
          </p:nvSpPr>
          <p:spPr>
            <a:xfrm rot="18918595">
              <a:off x="377195" y="1492743"/>
              <a:ext cx="2883734" cy="1600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spcFirstLastPara="1" lIns="0" tIns="0" rIns="0" bIns="0">
              <a:prstTxWarp prst="textArchUp">
                <a:avLst>
                  <a:gd name="adj" fmla="val 8716790"/>
                </a:avLst>
              </a:prstTxWarp>
              <a:spAutoFit/>
            </a:bodyPr>
            <a:lstStyle>
              <a:lvl1pPr marL="349861" lvl="0" indent="-349861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/>
              </a:lvl1pPr>
              <a:lvl2pPr marL="197607" lvl="1" indent="-195987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▪"/>
                <a:defRPr sz="1600"/>
              </a:lvl2pPr>
              <a:lvl3pPr marL="466481" lvl="2" indent="-267255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–"/>
                <a:defRPr sz="1600"/>
              </a:lvl3pPr>
              <a:lvl4pPr marL="626835" lvl="3" indent="-158733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▫"/>
                <a:defRPr sz="1600"/>
              </a:lvl4pPr>
              <a:lvl5pPr marL="761271" lvl="4" indent="-132818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/>
              </a:lvl5pPr>
              <a:lvl6pPr marL="1227752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6pPr>
              <a:lvl7pPr marL="169423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7pPr>
              <a:lvl8pPr marL="2160715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8pPr>
              <a:lvl9pPr marL="2627196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9pPr>
            </a:lstStyle>
            <a:p>
              <a:pPr marL="0" marR="0" lvl="0" indent="0" algn="ctr" defTabSz="9135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sonal behaviors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Customer value proposition">
              <a:extLst>
                <a:ext uri="{FF2B5EF4-FFF2-40B4-BE49-F238E27FC236}">
                  <a16:creationId xmlns:a16="http://schemas.microsoft.com/office/drawing/2014/main" id="{310F0093-1FAB-E51A-BAF1-9DAC972EDEAD}"/>
                </a:ext>
              </a:extLst>
            </p:cNvPr>
            <p:cNvSpPr txBox="1">
              <a:spLocks/>
            </p:cNvSpPr>
            <p:nvPr/>
          </p:nvSpPr>
          <p:spPr>
            <a:xfrm rot="13349164">
              <a:off x="321269" y="3994598"/>
              <a:ext cx="2883734" cy="1600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spcFirstLastPara="1" lIns="0" tIns="0" rIns="0" bIns="0">
              <a:prstTxWarp prst="textArchUp">
                <a:avLst>
                  <a:gd name="adj" fmla="val 8716790"/>
                </a:avLst>
              </a:prstTxWarp>
              <a:spAutoFit/>
            </a:bodyPr>
            <a:lstStyle>
              <a:lvl1pPr marL="349861" lvl="0" indent="-349861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/>
              </a:lvl1pPr>
              <a:lvl2pPr marL="197607" lvl="1" indent="-195987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▪"/>
                <a:defRPr sz="1600"/>
              </a:lvl2pPr>
              <a:lvl3pPr marL="466481" lvl="2" indent="-267255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–"/>
                <a:defRPr sz="1600"/>
              </a:lvl3pPr>
              <a:lvl4pPr marL="626835" lvl="3" indent="-158733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▫"/>
                <a:defRPr sz="1600"/>
              </a:lvl4pPr>
              <a:lvl5pPr marL="761271" lvl="4" indent="-132818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/>
              </a:lvl5pPr>
              <a:lvl6pPr marL="1227752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6pPr>
              <a:lvl7pPr marL="169423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7pPr>
              <a:lvl8pPr marL="2160715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8pPr>
              <a:lvl9pPr marL="2627196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9pPr>
            </a:lstStyle>
            <a:p>
              <a:pPr marL="0" marR="0" lvl="0" indent="0" algn="ctr" defTabSz="9135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sonal attributes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Customer value proposition">
              <a:extLst>
                <a:ext uri="{FF2B5EF4-FFF2-40B4-BE49-F238E27FC236}">
                  <a16:creationId xmlns:a16="http://schemas.microsoft.com/office/drawing/2014/main" id="{388C1EFF-638D-A265-6379-F76A158CC500}"/>
                </a:ext>
              </a:extLst>
            </p:cNvPr>
            <p:cNvSpPr txBox="1">
              <a:spLocks/>
            </p:cNvSpPr>
            <p:nvPr/>
          </p:nvSpPr>
          <p:spPr>
            <a:xfrm rot="8276167">
              <a:off x="2764843" y="4104864"/>
              <a:ext cx="2883734" cy="1600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spcFirstLastPara="1" lIns="0" tIns="0" rIns="0" bIns="0">
              <a:prstTxWarp prst="textArchUp">
                <a:avLst>
                  <a:gd name="adj" fmla="val 8716790"/>
                </a:avLst>
              </a:prstTxWarp>
              <a:spAutoFit/>
            </a:bodyPr>
            <a:lstStyle>
              <a:lvl1pPr marL="349861" lvl="0" indent="-349861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/>
              </a:lvl1pPr>
              <a:lvl2pPr marL="197607" lvl="1" indent="-195987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▪"/>
                <a:defRPr sz="1600"/>
              </a:lvl2pPr>
              <a:lvl3pPr marL="466481" lvl="2" indent="-267255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–"/>
                <a:defRPr sz="1600"/>
              </a:lvl3pPr>
              <a:lvl4pPr marL="626835" lvl="3" indent="-158733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▫"/>
                <a:defRPr sz="1600"/>
              </a:lvl4pPr>
              <a:lvl5pPr marL="761271" lvl="4" indent="-132818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/>
              </a:lvl5pPr>
              <a:lvl6pPr marL="1227752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6pPr>
              <a:lvl7pPr marL="169423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7pPr>
              <a:lvl8pPr marL="2160715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8pPr>
              <a:lvl9pPr marL="2627196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9pPr>
            </a:lstStyle>
            <a:p>
              <a:pPr marL="0" marR="0" lvl="0" indent="0" algn="ctr" defTabSz="9135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vironment attributes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D2E2EA4D-7BB2-548A-31AD-112CF3FD3B0F}"/>
                </a:ext>
              </a:extLst>
            </p:cNvPr>
            <p:cNvSpPr/>
            <p:nvPr/>
          </p:nvSpPr>
          <p:spPr>
            <a:xfrm>
              <a:off x="1863139" y="2294117"/>
              <a:ext cx="281428" cy="32560"/>
            </a:xfrm>
            <a:custGeom>
              <a:avLst/>
              <a:gdLst>
                <a:gd name="connsiteX0" fmla="*/ 281199 w 281428"/>
                <a:gd name="connsiteY0" fmla="*/ 0 h 32560"/>
                <a:gd name="connsiteX1" fmla="*/ 281428 w 281428"/>
                <a:gd name="connsiteY1" fmla="*/ 11 h 32560"/>
                <a:gd name="connsiteX2" fmla="*/ 152179 w 281428"/>
                <a:gd name="connsiteY2" fmla="*/ 6545 h 32560"/>
                <a:gd name="connsiteX3" fmla="*/ 26440 w 281428"/>
                <a:gd name="connsiteY3" fmla="*/ 25755 h 32560"/>
                <a:gd name="connsiteX4" fmla="*/ 0 w 281428"/>
                <a:gd name="connsiteY4" fmla="*/ 32560 h 32560"/>
                <a:gd name="connsiteX5" fmla="*/ 46 w 281428"/>
                <a:gd name="connsiteY5" fmla="*/ 32382 h 32560"/>
                <a:gd name="connsiteX6" fmla="*/ 25888 w 281428"/>
                <a:gd name="connsiteY6" fmla="*/ 25738 h 32560"/>
                <a:gd name="connsiteX7" fmla="*/ 281199 w 281428"/>
                <a:gd name="connsiteY7" fmla="*/ 0 h 32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428" h="32560">
                  <a:moveTo>
                    <a:pt x="281199" y="0"/>
                  </a:moveTo>
                  <a:lnTo>
                    <a:pt x="281428" y="11"/>
                  </a:lnTo>
                  <a:lnTo>
                    <a:pt x="152179" y="6545"/>
                  </a:lnTo>
                  <a:cubicBezTo>
                    <a:pt x="109607" y="10873"/>
                    <a:pt x="67659" y="17312"/>
                    <a:pt x="26440" y="25755"/>
                  </a:cubicBezTo>
                  <a:lnTo>
                    <a:pt x="0" y="32560"/>
                  </a:lnTo>
                  <a:lnTo>
                    <a:pt x="46" y="32382"/>
                  </a:lnTo>
                  <a:lnTo>
                    <a:pt x="25888" y="25738"/>
                  </a:lnTo>
                  <a:cubicBezTo>
                    <a:pt x="108356" y="8862"/>
                    <a:pt x="193742" y="0"/>
                    <a:pt x="281199" y="0"/>
                  </a:cubicBez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6326C3E4-4A55-F2D3-14D4-F0A210678D87}"/>
                </a:ext>
              </a:extLst>
            </p:cNvPr>
            <p:cNvSpPr/>
            <p:nvPr/>
          </p:nvSpPr>
          <p:spPr>
            <a:xfrm>
              <a:off x="2144567" y="2294117"/>
              <a:ext cx="679650" cy="199090"/>
            </a:xfrm>
            <a:custGeom>
              <a:avLst/>
              <a:gdLst>
                <a:gd name="connsiteX0" fmla="*/ 230 w 679650"/>
                <a:gd name="connsiteY0" fmla="*/ 0 h 199090"/>
                <a:gd name="connsiteX1" fmla="*/ 603858 w 679650"/>
                <a:gd name="connsiteY1" fmla="*/ 152999 h 199090"/>
                <a:gd name="connsiteX2" fmla="*/ 679650 w 679650"/>
                <a:gd name="connsiteY2" fmla="*/ 199090 h 199090"/>
                <a:gd name="connsiteX3" fmla="*/ 603618 w 679650"/>
                <a:gd name="connsiteY3" fmla="*/ 152900 h 199090"/>
                <a:gd name="connsiteX4" fmla="*/ 129297 w 679650"/>
                <a:gd name="connsiteY4" fmla="*/ 6541 h 199090"/>
                <a:gd name="connsiteX5" fmla="*/ 0 w 679650"/>
                <a:gd name="connsiteY5" fmla="*/ 11 h 199090"/>
                <a:gd name="connsiteX6" fmla="*/ 230 w 679650"/>
                <a:gd name="connsiteY6" fmla="*/ 0 h 19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9650" h="199090">
                  <a:moveTo>
                    <a:pt x="230" y="0"/>
                  </a:moveTo>
                  <a:cubicBezTo>
                    <a:pt x="218792" y="0"/>
                    <a:pt x="424422" y="55425"/>
                    <a:pt x="603858" y="152999"/>
                  </a:cubicBezTo>
                  <a:lnTo>
                    <a:pt x="679650" y="199090"/>
                  </a:lnTo>
                  <a:lnTo>
                    <a:pt x="603618" y="152900"/>
                  </a:lnTo>
                  <a:cubicBezTo>
                    <a:pt x="460017" y="74891"/>
                    <a:pt x="299646" y="23840"/>
                    <a:pt x="129297" y="6541"/>
                  </a:cubicBezTo>
                  <a:lnTo>
                    <a:pt x="0" y="11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40089268-969C-FCB0-34BD-944A2D5A2CBB}"/>
                </a:ext>
              </a:extLst>
            </p:cNvPr>
            <p:cNvSpPr/>
            <p:nvPr/>
          </p:nvSpPr>
          <p:spPr>
            <a:xfrm>
              <a:off x="3338820" y="2294117"/>
              <a:ext cx="678665" cy="198492"/>
            </a:xfrm>
            <a:custGeom>
              <a:avLst/>
              <a:gdLst>
                <a:gd name="connsiteX0" fmla="*/ 678436 w 678665"/>
                <a:gd name="connsiteY0" fmla="*/ 0 h 198492"/>
                <a:gd name="connsiteX1" fmla="*/ 678665 w 678665"/>
                <a:gd name="connsiteY1" fmla="*/ 11 h 198492"/>
                <a:gd name="connsiteX2" fmla="*/ 549368 w 678665"/>
                <a:gd name="connsiteY2" fmla="*/ 6541 h 198492"/>
                <a:gd name="connsiteX3" fmla="*/ 75047 w 678665"/>
                <a:gd name="connsiteY3" fmla="*/ 152900 h 198492"/>
                <a:gd name="connsiteX4" fmla="*/ 0 w 678665"/>
                <a:gd name="connsiteY4" fmla="*/ 198492 h 198492"/>
                <a:gd name="connsiteX5" fmla="*/ 74808 w 678665"/>
                <a:gd name="connsiteY5" fmla="*/ 152999 h 198492"/>
                <a:gd name="connsiteX6" fmla="*/ 678436 w 678665"/>
                <a:gd name="connsiteY6" fmla="*/ 0 h 19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8665" h="198492">
                  <a:moveTo>
                    <a:pt x="678436" y="0"/>
                  </a:moveTo>
                  <a:lnTo>
                    <a:pt x="678665" y="11"/>
                  </a:lnTo>
                  <a:lnTo>
                    <a:pt x="549368" y="6541"/>
                  </a:lnTo>
                  <a:cubicBezTo>
                    <a:pt x="379020" y="23840"/>
                    <a:pt x="218649" y="74891"/>
                    <a:pt x="75047" y="152900"/>
                  </a:cubicBezTo>
                  <a:lnTo>
                    <a:pt x="0" y="198492"/>
                  </a:lnTo>
                  <a:lnTo>
                    <a:pt x="74808" y="152999"/>
                  </a:lnTo>
                  <a:cubicBezTo>
                    <a:pt x="254244" y="55425"/>
                    <a:pt x="459874" y="0"/>
                    <a:pt x="678436" y="0"/>
                  </a:cubicBez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281EE862-B569-DE95-6978-266F2A0F2472}"/>
                </a:ext>
              </a:extLst>
            </p:cNvPr>
            <p:cNvSpPr/>
            <p:nvPr/>
          </p:nvSpPr>
          <p:spPr>
            <a:xfrm>
              <a:off x="4017485" y="2294117"/>
              <a:ext cx="281427" cy="32558"/>
            </a:xfrm>
            <a:custGeom>
              <a:avLst/>
              <a:gdLst>
                <a:gd name="connsiteX0" fmla="*/ 229 w 281427"/>
                <a:gd name="connsiteY0" fmla="*/ 0 h 32558"/>
                <a:gd name="connsiteX1" fmla="*/ 255540 w 281427"/>
                <a:gd name="connsiteY1" fmla="*/ 25738 h 32558"/>
                <a:gd name="connsiteX2" fmla="*/ 281381 w 281427"/>
                <a:gd name="connsiteY2" fmla="*/ 32382 h 32558"/>
                <a:gd name="connsiteX3" fmla="*/ 281427 w 281427"/>
                <a:gd name="connsiteY3" fmla="*/ 32558 h 32558"/>
                <a:gd name="connsiteX4" fmla="*/ 254989 w 281427"/>
                <a:gd name="connsiteY4" fmla="*/ 25755 h 32558"/>
                <a:gd name="connsiteX5" fmla="*/ 129250 w 281427"/>
                <a:gd name="connsiteY5" fmla="*/ 6545 h 32558"/>
                <a:gd name="connsiteX6" fmla="*/ 0 w 281427"/>
                <a:gd name="connsiteY6" fmla="*/ 11 h 32558"/>
                <a:gd name="connsiteX7" fmla="*/ 229 w 281427"/>
                <a:gd name="connsiteY7" fmla="*/ 0 h 3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427" h="32558">
                  <a:moveTo>
                    <a:pt x="229" y="0"/>
                  </a:moveTo>
                  <a:cubicBezTo>
                    <a:pt x="87686" y="0"/>
                    <a:pt x="173072" y="8862"/>
                    <a:pt x="255540" y="25738"/>
                  </a:cubicBezTo>
                  <a:lnTo>
                    <a:pt x="281381" y="32382"/>
                  </a:lnTo>
                  <a:lnTo>
                    <a:pt x="281427" y="32558"/>
                  </a:lnTo>
                  <a:lnTo>
                    <a:pt x="254989" y="25755"/>
                  </a:lnTo>
                  <a:cubicBezTo>
                    <a:pt x="213770" y="17312"/>
                    <a:pt x="171822" y="10873"/>
                    <a:pt x="129250" y="6545"/>
                  </a:cubicBezTo>
                  <a:lnTo>
                    <a:pt x="0" y="11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82C9F565-D790-5E1B-4195-26115E041B6B}"/>
                </a:ext>
              </a:extLst>
            </p:cNvPr>
            <p:cNvSpPr/>
            <p:nvPr/>
          </p:nvSpPr>
          <p:spPr>
            <a:xfrm>
              <a:off x="4298911" y="2326675"/>
              <a:ext cx="48946" cy="345170"/>
            </a:xfrm>
            <a:custGeom>
              <a:avLst/>
              <a:gdLst>
                <a:gd name="connsiteX0" fmla="*/ 0 w 48946"/>
                <a:gd name="connsiteY0" fmla="*/ 0 h 345170"/>
                <a:gd name="connsiteX1" fmla="*/ 309 w 48946"/>
                <a:gd name="connsiteY1" fmla="*/ 80 h 345170"/>
                <a:gd name="connsiteX2" fmla="*/ 23217 w 48946"/>
                <a:gd name="connsiteY2" fmla="*/ 89271 h 345170"/>
                <a:gd name="connsiteX3" fmla="*/ 48946 w 48946"/>
                <a:gd name="connsiteY3" fmla="*/ 344748 h 345170"/>
                <a:gd name="connsiteX4" fmla="*/ 48925 w 48946"/>
                <a:gd name="connsiteY4" fmla="*/ 345170 h 345170"/>
                <a:gd name="connsiteX5" fmla="*/ 42404 w 48946"/>
                <a:gd name="connsiteY5" fmla="*/ 216045 h 345170"/>
                <a:gd name="connsiteX6" fmla="*/ 23207 w 48946"/>
                <a:gd name="connsiteY6" fmla="*/ 90260 h 345170"/>
                <a:gd name="connsiteX7" fmla="*/ 0 w 48946"/>
                <a:gd name="connsiteY7" fmla="*/ 0 h 34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946" h="345170">
                  <a:moveTo>
                    <a:pt x="0" y="0"/>
                  </a:moveTo>
                  <a:lnTo>
                    <a:pt x="309" y="80"/>
                  </a:lnTo>
                  <a:lnTo>
                    <a:pt x="23217" y="89271"/>
                  </a:lnTo>
                  <a:cubicBezTo>
                    <a:pt x="40087" y="171793"/>
                    <a:pt x="48946" y="257234"/>
                    <a:pt x="48946" y="344748"/>
                  </a:cubicBezTo>
                  <a:lnTo>
                    <a:pt x="48925" y="345170"/>
                  </a:lnTo>
                  <a:lnTo>
                    <a:pt x="42404" y="216045"/>
                  </a:lnTo>
                  <a:cubicBezTo>
                    <a:pt x="38080" y="173458"/>
                    <a:pt x="31645" y="131494"/>
                    <a:pt x="23207" y="902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D5F862C0-A2E2-C575-AEB1-518690299249}"/>
                </a:ext>
              </a:extLst>
            </p:cNvPr>
            <p:cNvSpPr/>
            <p:nvPr/>
          </p:nvSpPr>
          <p:spPr>
            <a:xfrm>
              <a:off x="1814195" y="2326677"/>
              <a:ext cx="48945" cy="345158"/>
            </a:xfrm>
            <a:custGeom>
              <a:avLst/>
              <a:gdLst>
                <a:gd name="connsiteX0" fmla="*/ 48945 w 48945"/>
                <a:gd name="connsiteY0" fmla="*/ 0 h 345158"/>
                <a:gd name="connsiteX1" fmla="*/ 25738 w 48945"/>
                <a:gd name="connsiteY1" fmla="*/ 90258 h 345158"/>
                <a:gd name="connsiteX2" fmla="*/ 6541 w 48945"/>
                <a:gd name="connsiteY2" fmla="*/ 216043 h 345158"/>
                <a:gd name="connsiteX3" fmla="*/ 21 w 48945"/>
                <a:gd name="connsiteY3" fmla="*/ 345158 h 345158"/>
                <a:gd name="connsiteX4" fmla="*/ 0 w 48945"/>
                <a:gd name="connsiteY4" fmla="*/ 344746 h 345158"/>
                <a:gd name="connsiteX5" fmla="*/ 25729 w 48945"/>
                <a:gd name="connsiteY5" fmla="*/ 89269 h 345158"/>
                <a:gd name="connsiteX6" fmla="*/ 48639 w 48945"/>
                <a:gd name="connsiteY6" fmla="*/ 79 h 345158"/>
                <a:gd name="connsiteX7" fmla="*/ 48945 w 48945"/>
                <a:gd name="connsiteY7" fmla="*/ 0 h 345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945" h="345158">
                  <a:moveTo>
                    <a:pt x="48945" y="0"/>
                  </a:moveTo>
                  <a:lnTo>
                    <a:pt x="25738" y="90258"/>
                  </a:lnTo>
                  <a:cubicBezTo>
                    <a:pt x="17300" y="131492"/>
                    <a:pt x="10865" y="173456"/>
                    <a:pt x="6541" y="216043"/>
                  </a:cubicBezTo>
                  <a:lnTo>
                    <a:pt x="21" y="345158"/>
                  </a:lnTo>
                  <a:lnTo>
                    <a:pt x="0" y="344746"/>
                  </a:lnTo>
                  <a:cubicBezTo>
                    <a:pt x="0" y="257232"/>
                    <a:pt x="8860" y="171791"/>
                    <a:pt x="25729" y="89269"/>
                  </a:cubicBezTo>
                  <a:lnTo>
                    <a:pt x="48639" y="79"/>
                  </a:lnTo>
                  <a:lnTo>
                    <a:pt x="48945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DF229D5A-4808-BEC5-D5E6-316173780EE7}"/>
                </a:ext>
              </a:extLst>
            </p:cNvPr>
            <p:cNvSpPr/>
            <p:nvPr/>
          </p:nvSpPr>
          <p:spPr>
            <a:xfrm>
              <a:off x="3309287" y="2492609"/>
              <a:ext cx="29533" cy="17960"/>
            </a:xfrm>
            <a:custGeom>
              <a:avLst/>
              <a:gdLst>
                <a:gd name="connsiteX0" fmla="*/ 29533 w 29533"/>
                <a:gd name="connsiteY0" fmla="*/ 0 h 17960"/>
                <a:gd name="connsiteX1" fmla="*/ 0 w 29533"/>
                <a:gd name="connsiteY1" fmla="*/ 17960 h 17960"/>
                <a:gd name="connsiteX2" fmla="*/ 130 w 29533"/>
                <a:gd name="connsiteY2" fmla="*/ 17863 h 17960"/>
                <a:gd name="connsiteX3" fmla="*/ 29533 w 29533"/>
                <a:gd name="connsiteY3" fmla="*/ 0 h 17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33" h="17960">
                  <a:moveTo>
                    <a:pt x="29533" y="0"/>
                  </a:moveTo>
                  <a:lnTo>
                    <a:pt x="0" y="17960"/>
                  </a:lnTo>
                  <a:lnTo>
                    <a:pt x="130" y="17863"/>
                  </a:lnTo>
                  <a:lnTo>
                    <a:pt x="29533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62CA81F-8D25-2F08-E767-A72330BF0710}"/>
                </a:ext>
              </a:extLst>
            </p:cNvPr>
            <p:cNvSpPr/>
            <p:nvPr/>
          </p:nvSpPr>
          <p:spPr>
            <a:xfrm>
              <a:off x="2824217" y="2493208"/>
              <a:ext cx="28544" cy="17359"/>
            </a:xfrm>
            <a:custGeom>
              <a:avLst/>
              <a:gdLst>
                <a:gd name="connsiteX0" fmla="*/ 0 w 28544"/>
                <a:gd name="connsiteY0" fmla="*/ 0 h 17359"/>
                <a:gd name="connsiteX1" fmla="*/ 28418 w 28544"/>
                <a:gd name="connsiteY1" fmla="*/ 17265 h 17359"/>
                <a:gd name="connsiteX2" fmla="*/ 28544 w 28544"/>
                <a:gd name="connsiteY2" fmla="*/ 17359 h 17359"/>
                <a:gd name="connsiteX3" fmla="*/ 0 w 28544"/>
                <a:gd name="connsiteY3" fmla="*/ 0 h 17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44" h="17359">
                  <a:moveTo>
                    <a:pt x="0" y="0"/>
                  </a:moveTo>
                  <a:lnTo>
                    <a:pt x="28418" y="17265"/>
                  </a:lnTo>
                  <a:lnTo>
                    <a:pt x="28544" y="173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5160EF66-28BE-544A-5E1B-A77431AD2F30}"/>
                </a:ext>
              </a:extLst>
            </p:cNvPr>
            <p:cNvSpPr/>
            <p:nvPr/>
          </p:nvSpPr>
          <p:spPr>
            <a:xfrm>
              <a:off x="2852761" y="2510566"/>
              <a:ext cx="14322" cy="10710"/>
            </a:xfrm>
            <a:custGeom>
              <a:avLst/>
              <a:gdLst>
                <a:gd name="connsiteX0" fmla="*/ 0 w 14322"/>
                <a:gd name="connsiteY0" fmla="*/ 0 h 10710"/>
                <a:gd name="connsiteX1" fmla="*/ 77 w 14322"/>
                <a:gd name="connsiteY1" fmla="*/ 47 h 10710"/>
                <a:gd name="connsiteX2" fmla="*/ 14322 w 14322"/>
                <a:gd name="connsiteY2" fmla="*/ 10710 h 10710"/>
                <a:gd name="connsiteX3" fmla="*/ 0 w 14322"/>
                <a:gd name="connsiteY3" fmla="*/ 0 h 1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22" h="10710">
                  <a:moveTo>
                    <a:pt x="0" y="0"/>
                  </a:moveTo>
                  <a:lnTo>
                    <a:pt x="77" y="47"/>
                  </a:lnTo>
                  <a:lnTo>
                    <a:pt x="14322" y="107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D639FB55-E684-0C36-C19A-FEEC0840BAB9}"/>
                </a:ext>
              </a:extLst>
            </p:cNvPr>
            <p:cNvSpPr/>
            <p:nvPr/>
          </p:nvSpPr>
          <p:spPr>
            <a:xfrm>
              <a:off x="3295820" y="2510569"/>
              <a:ext cx="13466" cy="10070"/>
            </a:xfrm>
            <a:custGeom>
              <a:avLst/>
              <a:gdLst>
                <a:gd name="connsiteX0" fmla="*/ 13466 w 13466"/>
                <a:gd name="connsiteY0" fmla="*/ 0 h 10070"/>
                <a:gd name="connsiteX1" fmla="*/ 0 w 13466"/>
                <a:gd name="connsiteY1" fmla="*/ 10070 h 10070"/>
                <a:gd name="connsiteX2" fmla="*/ 13394 w 13466"/>
                <a:gd name="connsiteY2" fmla="*/ 44 h 10070"/>
                <a:gd name="connsiteX3" fmla="*/ 13466 w 13466"/>
                <a:gd name="connsiteY3" fmla="*/ 0 h 10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66" h="10070">
                  <a:moveTo>
                    <a:pt x="13466" y="0"/>
                  </a:moveTo>
                  <a:lnTo>
                    <a:pt x="0" y="10070"/>
                  </a:lnTo>
                  <a:lnTo>
                    <a:pt x="13394" y="44"/>
                  </a:lnTo>
                  <a:lnTo>
                    <a:pt x="13466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10E0492F-117A-9217-D2C7-23A9D1469930}"/>
                </a:ext>
              </a:extLst>
            </p:cNvPr>
            <p:cNvSpPr/>
            <p:nvPr/>
          </p:nvSpPr>
          <p:spPr>
            <a:xfrm>
              <a:off x="3081026" y="2520639"/>
              <a:ext cx="214794" cy="189598"/>
            </a:xfrm>
            <a:custGeom>
              <a:avLst/>
              <a:gdLst>
                <a:gd name="connsiteX0" fmla="*/ 214794 w 214794"/>
                <a:gd name="connsiteY0" fmla="*/ 0 h 189598"/>
                <a:gd name="connsiteX1" fmla="*/ 130698 w 214794"/>
                <a:gd name="connsiteY1" fmla="*/ 62949 h 189598"/>
                <a:gd name="connsiteX2" fmla="*/ 40768 w 214794"/>
                <a:gd name="connsiteY2" fmla="*/ 144766 h 189598"/>
                <a:gd name="connsiteX3" fmla="*/ 63 w 214794"/>
                <a:gd name="connsiteY3" fmla="*/ 189598 h 189598"/>
                <a:gd name="connsiteX4" fmla="*/ 0 w 214794"/>
                <a:gd name="connsiteY4" fmla="*/ 189528 h 189598"/>
                <a:gd name="connsiteX5" fmla="*/ 40902 w 214794"/>
                <a:gd name="connsiteY5" fmla="*/ 144524 h 189598"/>
                <a:gd name="connsiteX6" fmla="*/ 130865 w 214794"/>
                <a:gd name="connsiteY6" fmla="*/ 62761 h 189598"/>
                <a:gd name="connsiteX7" fmla="*/ 214794 w 214794"/>
                <a:gd name="connsiteY7" fmla="*/ 0 h 189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4794" h="189598">
                  <a:moveTo>
                    <a:pt x="214794" y="0"/>
                  </a:moveTo>
                  <a:lnTo>
                    <a:pt x="130698" y="62949"/>
                  </a:lnTo>
                  <a:cubicBezTo>
                    <a:pt x="99427" y="88783"/>
                    <a:pt x="69414" y="116091"/>
                    <a:pt x="40768" y="144766"/>
                  </a:cubicBezTo>
                  <a:lnTo>
                    <a:pt x="63" y="189598"/>
                  </a:lnTo>
                  <a:lnTo>
                    <a:pt x="0" y="189528"/>
                  </a:lnTo>
                  <a:lnTo>
                    <a:pt x="40902" y="144524"/>
                  </a:lnTo>
                  <a:cubicBezTo>
                    <a:pt x="69559" y="115868"/>
                    <a:pt x="99582" y="88578"/>
                    <a:pt x="130865" y="62761"/>
                  </a:cubicBezTo>
                  <a:lnTo>
                    <a:pt x="214794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18BACE18-8E0A-387E-6553-37E0305FDEF6}"/>
                </a:ext>
              </a:extLst>
            </p:cNvPr>
            <p:cNvSpPr/>
            <p:nvPr/>
          </p:nvSpPr>
          <p:spPr>
            <a:xfrm>
              <a:off x="2867084" y="2521277"/>
              <a:ext cx="213943" cy="188961"/>
            </a:xfrm>
            <a:custGeom>
              <a:avLst/>
              <a:gdLst>
                <a:gd name="connsiteX0" fmla="*/ 0 w 213943"/>
                <a:gd name="connsiteY0" fmla="*/ 0 h 188961"/>
                <a:gd name="connsiteX1" fmla="*/ 83077 w 213943"/>
                <a:gd name="connsiteY1" fmla="*/ 62124 h 188961"/>
                <a:gd name="connsiteX2" fmla="*/ 173040 w 213943"/>
                <a:gd name="connsiteY2" fmla="*/ 143887 h 188961"/>
                <a:gd name="connsiteX3" fmla="*/ 213943 w 213943"/>
                <a:gd name="connsiteY3" fmla="*/ 188891 h 188961"/>
                <a:gd name="connsiteX4" fmla="*/ 213879 w 213943"/>
                <a:gd name="connsiteY4" fmla="*/ 188961 h 188961"/>
                <a:gd name="connsiteX5" fmla="*/ 173174 w 213943"/>
                <a:gd name="connsiteY5" fmla="*/ 144129 h 188961"/>
                <a:gd name="connsiteX6" fmla="*/ 83244 w 213943"/>
                <a:gd name="connsiteY6" fmla="*/ 62312 h 188961"/>
                <a:gd name="connsiteX7" fmla="*/ 0 w 213943"/>
                <a:gd name="connsiteY7" fmla="*/ 0 h 188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943" h="188961">
                  <a:moveTo>
                    <a:pt x="0" y="0"/>
                  </a:moveTo>
                  <a:lnTo>
                    <a:pt x="83077" y="62124"/>
                  </a:lnTo>
                  <a:cubicBezTo>
                    <a:pt x="114360" y="87941"/>
                    <a:pt x="144383" y="115231"/>
                    <a:pt x="173040" y="143887"/>
                  </a:cubicBezTo>
                  <a:lnTo>
                    <a:pt x="213943" y="188891"/>
                  </a:lnTo>
                  <a:lnTo>
                    <a:pt x="213879" y="188961"/>
                  </a:lnTo>
                  <a:lnTo>
                    <a:pt x="173174" y="144129"/>
                  </a:lnTo>
                  <a:cubicBezTo>
                    <a:pt x="144528" y="115454"/>
                    <a:pt x="114516" y="88146"/>
                    <a:pt x="83244" y="6231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886C4013-7796-3089-356A-B4697E149D9D}"/>
                </a:ext>
              </a:extLst>
            </p:cNvPr>
            <p:cNvSpPr/>
            <p:nvPr/>
          </p:nvSpPr>
          <p:spPr>
            <a:xfrm>
              <a:off x="1814195" y="2671835"/>
              <a:ext cx="364567" cy="889017"/>
            </a:xfrm>
            <a:custGeom>
              <a:avLst/>
              <a:gdLst>
                <a:gd name="connsiteX0" fmla="*/ 21 w 364567"/>
                <a:gd name="connsiteY0" fmla="*/ 0 h 889017"/>
                <a:gd name="connsiteX1" fmla="*/ 6538 w 364567"/>
                <a:gd name="connsiteY1" fmla="*/ 129198 h 889017"/>
                <a:gd name="connsiteX2" fmla="*/ 289178 w 364567"/>
                <a:gd name="connsiteY2" fmla="*/ 805934 h 889017"/>
                <a:gd name="connsiteX3" fmla="*/ 364567 w 364567"/>
                <a:gd name="connsiteY3" fmla="*/ 888967 h 889017"/>
                <a:gd name="connsiteX4" fmla="*/ 364522 w 364567"/>
                <a:gd name="connsiteY4" fmla="*/ 889017 h 889017"/>
                <a:gd name="connsiteX5" fmla="*/ 289283 w 364567"/>
                <a:gd name="connsiteY5" fmla="*/ 806233 h 889017"/>
                <a:gd name="connsiteX6" fmla="*/ 0 w 364567"/>
                <a:gd name="connsiteY6" fmla="*/ 411 h 889017"/>
                <a:gd name="connsiteX7" fmla="*/ 21 w 364567"/>
                <a:gd name="connsiteY7" fmla="*/ 0 h 889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4567" h="889017">
                  <a:moveTo>
                    <a:pt x="21" y="0"/>
                  </a:moveTo>
                  <a:lnTo>
                    <a:pt x="6538" y="129198"/>
                  </a:lnTo>
                  <a:cubicBezTo>
                    <a:pt x="32478" y="384887"/>
                    <a:pt x="134330" y="618112"/>
                    <a:pt x="289178" y="805934"/>
                  </a:cubicBezTo>
                  <a:lnTo>
                    <a:pt x="364567" y="888967"/>
                  </a:lnTo>
                  <a:lnTo>
                    <a:pt x="364522" y="889017"/>
                  </a:lnTo>
                  <a:lnTo>
                    <a:pt x="289283" y="806233"/>
                  </a:lnTo>
                  <a:cubicBezTo>
                    <a:pt x="108562" y="587250"/>
                    <a:pt x="0" y="306508"/>
                    <a:pt x="0" y="411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F4DE593F-DF16-99FF-DCA1-3CD5DC7A5437}"/>
                </a:ext>
              </a:extLst>
            </p:cNvPr>
            <p:cNvSpPr/>
            <p:nvPr/>
          </p:nvSpPr>
          <p:spPr>
            <a:xfrm>
              <a:off x="3982486" y="2671845"/>
              <a:ext cx="365371" cy="889892"/>
            </a:xfrm>
            <a:custGeom>
              <a:avLst/>
              <a:gdLst>
                <a:gd name="connsiteX0" fmla="*/ 365351 w 365371"/>
                <a:gd name="connsiteY0" fmla="*/ 0 h 889892"/>
                <a:gd name="connsiteX1" fmla="*/ 365371 w 365371"/>
                <a:gd name="connsiteY1" fmla="*/ 401 h 889892"/>
                <a:gd name="connsiteX2" fmla="*/ 76088 w 365371"/>
                <a:gd name="connsiteY2" fmla="*/ 806223 h 889892"/>
                <a:gd name="connsiteX3" fmla="*/ 45 w 365371"/>
                <a:gd name="connsiteY3" fmla="*/ 889892 h 889892"/>
                <a:gd name="connsiteX4" fmla="*/ 0 w 365371"/>
                <a:gd name="connsiteY4" fmla="*/ 889843 h 889892"/>
                <a:gd name="connsiteX5" fmla="*/ 76194 w 365371"/>
                <a:gd name="connsiteY5" fmla="*/ 805924 h 889892"/>
                <a:gd name="connsiteX6" fmla="*/ 358834 w 365371"/>
                <a:gd name="connsiteY6" fmla="*/ 129188 h 889892"/>
                <a:gd name="connsiteX7" fmla="*/ 365351 w 365371"/>
                <a:gd name="connsiteY7" fmla="*/ 0 h 889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5371" h="889892">
                  <a:moveTo>
                    <a:pt x="365351" y="0"/>
                  </a:moveTo>
                  <a:lnTo>
                    <a:pt x="365371" y="401"/>
                  </a:lnTo>
                  <a:cubicBezTo>
                    <a:pt x="365371" y="306498"/>
                    <a:pt x="256809" y="587240"/>
                    <a:pt x="76088" y="806223"/>
                  </a:cubicBezTo>
                  <a:lnTo>
                    <a:pt x="45" y="889892"/>
                  </a:lnTo>
                  <a:lnTo>
                    <a:pt x="0" y="889843"/>
                  </a:lnTo>
                  <a:lnTo>
                    <a:pt x="76194" y="805924"/>
                  </a:lnTo>
                  <a:cubicBezTo>
                    <a:pt x="231042" y="618102"/>
                    <a:pt x="332894" y="384877"/>
                    <a:pt x="358834" y="129188"/>
                  </a:cubicBezTo>
                  <a:lnTo>
                    <a:pt x="365351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7244B69E-A4CE-3B8A-420A-852061F38C3D}"/>
                </a:ext>
              </a:extLst>
            </p:cNvPr>
            <p:cNvSpPr/>
            <p:nvPr/>
          </p:nvSpPr>
          <p:spPr>
            <a:xfrm>
              <a:off x="2799480" y="2710238"/>
              <a:ext cx="281546" cy="506491"/>
            </a:xfrm>
            <a:custGeom>
              <a:avLst/>
              <a:gdLst>
                <a:gd name="connsiteX0" fmla="*/ 281482 w 281546"/>
                <a:gd name="connsiteY0" fmla="*/ 0 h 506491"/>
                <a:gd name="connsiteX1" fmla="*/ 281546 w 281546"/>
                <a:gd name="connsiteY1" fmla="*/ 70 h 506491"/>
                <a:gd name="connsiteX2" fmla="*/ 240580 w 281546"/>
                <a:gd name="connsiteY2" fmla="*/ 45189 h 506491"/>
                <a:gd name="connsiteX3" fmla="*/ 8336 w 281546"/>
                <a:gd name="connsiteY3" fmla="*/ 474573 h 506491"/>
                <a:gd name="connsiteX4" fmla="*/ 147 w 281546"/>
                <a:gd name="connsiteY4" fmla="*/ 506454 h 506491"/>
                <a:gd name="connsiteX5" fmla="*/ 0 w 281546"/>
                <a:gd name="connsiteY5" fmla="*/ 506491 h 506491"/>
                <a:gd name="connsiteX6" fmla="*/ 8356 w 281546"/>
                <a:gd name="connsiteY6" fmla="*/ 473994 h 506491"/>
                <a:gd name="connsiteX7" fmla="*/ 240685 w 281546"/>
                <a:gd name="connsiteY7" fmla="*/ 44889 h 506491"/>
                <a:gd name="connsiteX8" fmla="*/ 281482 w 281546"/>
                <a:gd name="connsiteY8" fmla="*/ 0 h 506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546" h="506491">
                  <a:moveTo>
                    <a:pt x="281482" y="0"/>
                  </a:moveTo>
                  <a:lnTo>
                    <a:pt x="281546" y="70"/>
                  </a:lnTo>
                  <a:lnTo>
                    <a:pt x="240580" y="45189"/>
                  </a:lnTo>
                  <a:cubicBezTo>
                    <a:pt x="137349" y="170403"/>
                    <a:pt x="57670" y="315797"/>
                    <a:pt x="8336" y="474573"/>
                  </a:cubicBezTo>
                  <a:lnTo>
                    <a:pt x="147" y="506454"/>
                  </a:lnTo>
                  <a:lnTo>
                    <a:pt x="0" y="506491"/>
                  </a:lnTo>
                  <a:lnTo>
                    <a:pt x="8356" y="473994"/>
                  </a:lnTo>
                  <a:cubicBezTo>
                    <a:pt x="57709" y="315321"/>
                    <a:pt x="137416" y="170022"/>
                    <a:pt x="240685" y="44889"/>
                  </a:cubicBezTo>
                  <a:lnTo>
                    <a:pt x="281482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C4A044DE-744F-B02C-999B-B86FA166A5FF}"/>
                </a:ext>
              </a:extLst>
            </p:cNvPr>
            <p:cNvSpPr/>
            <p:nvPr/>
          </p:nvSpPr>
          <p:spPr>
            <a:xfrm>
              <a:off x="3081027" y="2710238"/>
              <a:ext cx="281651" cy="506903"/>
            </a:xfrm>
            <a:custGeom>
              <a:avLst/>
              <a:gdLst>
                <a:gd name="connsiteX0" fmla="*/ 63 w 281651"/>
                <a:gd name="connsiteY0" fmla="*/ 0 h 506903"/>
                <a:gd name="connsiteX1" fmla="*/ 40860 w 281651"/>
                <a:gd name="connsiteY1" fmla="*/ 44889 h 506903"/>
                <a:gd name="connsiteX2" fmla="*/ 273189 w 281651"/>
                <a:gd name="connsiteY2" fmla="*/ 473994 h 506903"/>
                <a:gd name="connsiteX3" fmla="*/ 281651 w 281651"/>
                <a:gd name="connsiteY3" fmla="*/ 506903 h 506903"/>
                <a:gd name="connsiteX4" fmla="*/ 281504 w 281651"/>
                <a:gd name="connsiteY4" fmla="*/ 506865 h 506903"/>
                <a:gd name="connsiteX5" fmla="*/ 273209 w 281651"/>
                <a:gd name="connsiteY5" fmla="*/ 474573 h 506903"/>
                <a:gd name="connsiteX6" fmla="*/ 40965 w 281651"/>
                <a:gd name="connsiteY6" fmla="*/ 45189 h 506903"/>
                <a:gd name="connsiteX7" fmla="*/ 0 w 281651"/>
                <a:gd name="connsiteY7" fmla="*/ 70 h 506903"/>
                <a:gd name="connsiteX8" fmla="*/ 63 w 281651"/>
                <a:gd name="connsiteY8" fmla="*/ 0 h 506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651" h="506903">
                  <a:moveTo>
                    <a:pt x="63" y="0"/>
                  </a:moveTo>
                  <a:lnTo>
                    <a:pt x="40860" y="44889"/>
                  </a:lnTo>
                  <a:cubicBezTo>
                    <a:pt x="144129" y="170022"/>
                    <a:pt x="223836" y="315321"/>
                    <a:pt x="273189" y="473994"/>
                  </a:cubicBezTo>
                  <a:lnTo>
                    <a:pt x="281651" y="506903"/>
                  </a:lnTo>
                  <a:lnTo>
                    <a:pt x="281504" y="506865"/>
                  </a:lnTo>
                  <a:lnTo>
                    <a:pt x="273209" y="474573"/>
                  </a:lnTo>
                  <a:cubicBezTo>
                    <a:pt x="223875" y="315797"/>
                    <a:pt x="144197" y="170403"/>
                    <a:pt x="40965" y="45189"/>
                  </a:cubicBezTo>
                  <a:lnTo>
                    <a:pt x="0" y="7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54F520C9-EC86-6D24-583F-BE1496778CD7}"/>
                </a:ext>
              </a:extLst>
            </p:cNvPr>
            <p:cNvSpPr/>
            <p:nvPr/>
          </p:nvSpPr>
          <p:spPr>
            <a:xfrm>
              <a:off x="2799555" y="3184739"/>
              <a:ext cx="280032" cy="32233"/>
            </a:xfrm>
            <a:custGeom>
              <a:avLst/>
              <a:gdLst>
                <a:gd name="connsiteX0" fmla="*/ 279552 w 280032"/>
                <a:gd name="connsiteY0" fmla="*/ 0 h 32233"/>
                <a:gd name="connsiteX1" fmla="*/ 280032 w 280032"/>
                <a:gd name="connsiteY1" fmla="*/ 24 h 32233"/>
                <a:gd name="connsiteX2" fmla="*/ 150995 w 280032"/>
                <a:gd name="connsiteY2" fmla="*/ 6542 h 32233"/>
                <a:gd name="connsiteX3" fmla="*/ 25221 w 280032"/>
                <a:gd name="connsiteY3" fmla="*/ 25745 h 32233"/>
                <a:gd name="connsiteX4" fmla="*/ 0 w 280032"/>
                <a:gd name="connsiteY4" fmla="*/ 32233 h 32233"/>
                <a:gd name="connsiteX5" fmla="*/ 72 w 280032"/>
                <a:gd name="connsiteY5" fmla="*/ 31953 h 32233"/>
                <a:gd name="connsiteX6" fmla="*/ 24241 w 280032"/>
                <a:gd name="connsiteY6" fmla="*/ 25738 h 32233"/>
                <a:gd name="connsiteX7" fmla="*/ 279552 w 280032"/>
                <a:gd name="connsiteY7" fmla="*/ 0 h 32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032" h="32233">
                  <a:moveTo>
                    <a:pt x="279552" y="0"/>
                  </a:moveTo>
                  <a:lnTo>
                    <a:pt x="280032" y="24"/>
                  </a:lnTo>
                  <a:lnTo>
                    <a:pt x="150995" y="6542"/>
                  </a:lnTo>
                  <a:cubicBezTo>
                    <a:pt x="108412" y="10869"/>
                    <a:pt x="66451" y="17305"/>
                    <a:pt x="25221" y="25745"/>
                  </a:cubicBezTo>
                  <a:lnTo>
                    <a:pt x="0" y="32233"/>
                  </a:lnTo>
                  <a:lnTo>
                    <a:pt x="72" y="31953"/>
                  </a:lnTo>
                  <a:lnTo>
                    <a:pt x="24241" y="25738"/>
                  </a:lnTo>
                  <a:cubicBezTo>
                    <a:pt x="106709" y="8862"/>
                    <a:pt x="192096" y="0"/>
                    <a:pt x="279552" y="0"/>
                  </a:cubicBez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B06BA0C-3EC3-6A70-A090-A8859AE6F596}"/>
                </a:ext>
              </a:extLst>
            </p:cNvPr>
            <p:cNvSpPr/>
            <p:nvPr/>
          </p:nvSpPr>
          <p:spPr>
            <a:xfrm>
              <a:off x="3081026" y="3184739"/>
              <a:ext cx="281607" cy="32761"/>
            </a:xfrm>
            <a:custGeom>
              <a:avLst/>
              <a:gdLst>
                <a:gd name="connsiteX0" fmla="*/ 459 w 281607"/>
                <a:gd name="connsiteY0" fmla="*/ 0 h 32761"/>
                <a:gd name="connsiteX1" fmla="*/ 255677 w 281607"/>
                <a:gd name="connsiteY1" fmla="*/ 25724 h 32761"/>
                <a:gd name="connsiteX2" fmla="*/ 281505 w 281607"/>
                <a:gd name="connsiteY2" fmla="*/ 32364 h 32761"/>
                <a:gd name="connsiteX3" fmla="*/ 281607 w 281607"/>
                <a:gd name="connsiteY3" fmla="*/ 32761 h 32761"/>
                <a:gd name="connsiteX4" fmla="*/ 281544 w 281607"/>
                <a:gd name="connsiteY4" fmla="*/ 32745 h 32761"/>
                <a:gd name="connsiteX5" fmla="*/ 281507 w 281607"/>
                <a:gd name="connsiteY5" fmla="*/ 32601 h 32761"/>
                <a:gd name="connsiteX6" fmla="*/ 254759 w 281607"/>
                <a:gd name="connsiteY6" fmla="*/ 25725 h 32761"/>
                <a:gd name="connsiteX7" fmla="*/ 129020 w 281607"/>
                <a:gd name="connsiteY7" fmla="*/ 6537 h 32761"/>
                <a:gd name="connsiteX8" fmla="*/ 0 w 281607"/>
                <a:gd name="connsiteY8" fmla="*/ 23 h 32761"/>
                <a:gd name="connsiteX9" fmla="*/ 459 w 281607"/>
                <a:gd name="connsiteY9" fmla="*/ 0 h 32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1607" h="32761">
                  <a:moveTo>
                    <a:pt x="459" y="0"/>
                  </a:moveTo>
                  <a:cubicBezTo>
                    <a:pt x="87884" y="0"/>
                    <a:pt x="173240" y="8858"/>
                    <a:pt x="255677" y="25724"/>
                  </a:cubicBezTo>
                  <a:lnTo>
                    <a:pt x="281505" y="32364"/>
                  </a:lnTo>
                  <a:lnTo>
                    <a:pt x="281607" y="32761"/>
                  </a:lnTo>
                  <a:lnTo>
                    <a:pt x="281544" y="32745"/>
                  </a:lnTo>
                  <a:lnTo>
                    <a:pt x="281507" y="32601"/>
                  </a:lnTo>
                  <a:lnTo>
                    <a:pt x="254759" y="25725"/>
                  </a:lnTo>
                  <a:cubicBezTo>
                    <a:pt x="213540" y="17292"/>
                    <a:pt x="171592" y="10860"/>
                    <a:pt x="129020" y="6537"/>
                  </a:cubicBezTo>
                  <a:lnTo>
                    <a:pt x="0" y="23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50720289-6E87-B28C-8134-3914FC43A526}"/>
                </a:ext>
              </a:extLst>
            </p:cNvPr>
            <p:cNvSpPr/>
            <p:nvPr/>
          </p:nvSpPr>
          <p:spPr>
            <a:xfrm>
              <a:off x="3080295" y="3184775"/>
              <a:ext cx="282338" cy="32957"/>
            </a:xfrm>
            <a:custGeom>
              <a:avLst/>
              <a:gdLst>
                <a:gd name="connsiteX0" fmla="*/ 480 w 282338"/>
                <a:gd name="connsiteY0" fmla="*/ 0 h 32957"/>
                <a:gd name="connsiteX1" fmla="*/ 129287 w 282338"/>
                <a:gd name="connsiteY1" fmla="*/ 6506 h 32957"/>
                <a:gd name="connsiteX2" fmla="*/ 255061 w 282338"/>
                <a:gd name="connsiteY2" fmla="*/ 25709 h 32957"/>
                <a:gd name="connsiteX3" fmla="*/ 282274 w 282338"/>
                <a:gd name="connsiteY3" fmla="*/ 32709 h 32957"/>
                <a:gd name="connsiteX4" fmla="*/ 282338 w 282338"/>
                <a:gd name="connsiteY4" fmla="*/ 32957 h 32957"/>
                <a:gd name="connsiteX5" fmla="*/ 254123 w 282338"/>
                <a:gd name="connsiteY5" fmla="*/ 25702 h 32957"/>
                <a:gd name="connsiteX6" fmla="*/ 128338 w 282338"/>
                <a:gd name="connsiteY6" fmla="*/ 6505 h 32957"/>
                <a:gd name="connsiteX7" fmla="*/ 0 w 282338"/>
                <a:gd name="connsiteY7" fmla="*/ 24 h 32957"/>
                <a:gd name="connsiteX8" fmla="*/ 480 w 282338"/>
                <a:gd name="connsiteY8" fmla="*/ 0 h 32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338" h="32957">
                  <a:moveTo>
                    <a:pt x="480" y="0"/>
                  </a:moveTo>
                  <a:lnTo>
                    <a:pt x="129287" y="6506"/>
                  </a:lnTo>
                  <a:cubicBezTo>
                    <a:pt x="171871" y="10833"/>
                    <a:pt x="213831" y="17269"/>
                    <a:pt x="255061" y="25709"/>
                  </a:cubicBezTo>
                  <a:lnTo>
                    <a:pt x="282274" y="32709"/>
                  </a:lnTo>
                  <a:lnTo>
                    <a:pt x="282338" y="32957"/>
                  </a:lnTo>
                  <a:lnTo>
                    <a:pt x="254123" y="25702"/>
                  </a:lnTo>
                  <a:cubicBezTo>
                    <a:pt x="212889" y="17264"/>
                    <a:pt x="170925" y="10830"/>
                    <a:pt x="128338" y="6505"/>
                  </a:cubicBezTo>
                  <a:lnTo>
                    <a:pt x="0" y="24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62CECD68-8C0B-9C6C-DF9F-7BA848C2A9F1}"/>
                </a:ext>
              </a:extLst>
            </p:cNvPr>
            <p:cNvSpPr/>
            <p:nvPr/>
          </p:nvSpPr>
          <p:spPr>
            <a:xfrm>
              <a:off x="2759035" y="3184775"/>
              <a:ext cx="321261" cy="236800"/>
            </a:xfrm>
            <a:custGeom>
              <a:avLst/>
              <a:gdLst>
                <a:gd name="connsiteX0" fmla="*/ 320803 w 321261"/>
                <a:gd name="connsiteY0" fmla="*/ 0 h 236800"/>
                <a:gd name="connsiteX1" fmla="*/ 321261 w 321261"/>
                <a:gd name="connsiteY1" fmla="*/ 23 h 236800"/>
                <a:gd name="connsiteX2" fmla="*/ 192971 w 321261"/>
                <a:gd name="connsiteY2" fmla="*/ 6500 h 236800"/>
                <a:gd name="connsiteX3" fmla="*/ 67232 w 321261"/>
                <a:gd name="connsiteY3" fmla="*/ 25688 h 236800"/>
                <a:gd name="connsiteX4" fmla="*/ 40486 w 321261"/>
                <a:gd name="connsiteY4" fmla="*/ 32564 h 236800"/>
                <a:gd name="connsiteX5" fmla="*/ 17577 w 321261"/>
                <a:gd name="connsiteY5" fmla="*/ 121649 h 236800"/>
                <a:gd name="connsiteX6" fmla="*/ 0 w 321261"/>
                <a:gd name="connsiteY6" fmla="*/ 236800 h 236800"/>
                <a:gd name="connsiteX7" fmla="*/ 17576 w 321261"/>
                <a:gd name="connsiteY7" fmla="*/ 121520 h 236800"/>
                <a:gd name="connsiteX8" fmla="*/ 40487 w 321261"/>
                <a:gd name="connsiteY8" fmla="*/ 32327 h 236800"/>
                <a:gd name="connsiteX9" fmla="*/ 66314 w 321261"/>
                <a:gd name="connsiteY9" fmla="*/ 25687 h 236800"/>
                <a:gd name="connsiteX10" fmla="*/ 192053 w 321261"/>
                <a:gd name="connsiteY10" fmla="*/ 6500 h 236800"/>
                <a:gd name="connsiteX11" fmla="*/ 320803 w 321261"/>
                <a:gd name="connsiteY11" fmla="*/ 0 h 23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1261" h="236800">
                  <a:moveTo>
                    <a:pt x="320803" y="0"/>
                  </a:moveTo>
                  <a:lnTo>
                    <a:pt x="321261" y="23"/>
                  </a:lnTo>
                  <a:lnTo>
                    <a:pt x="192971" y="6500"/>
                  </a:lnTo>
                  <a:cubicBezTo>
                    <a:pt x="150400" y="10823"/>
                    <a:pt x="108451" y="17255"/>
                    <a:pt x="67232" y="25688"/>
                  </a:cubicBezTo>
                  <a:lnTo>
                    <a:pt x="40486" y="32564"/>
                  </a:lnTo>
                  <a:lnTo>
                    <a:pt x="17577" y="121649"/>
                  </a:lnTo>
                  <a:lnTo>
                    <a:pt x="0" y="236800"/>
                  </a:lnTo>
                  <a:lnTo>
                    <a:pt x="17576" y="121520"/>
                  </a:lnTo>
                  <a:lnTo>
                    <a:pt x="40487" y="32327"/>
                  </a:lnTo>
                  <a:lnTo>
                    <a:pt x="66314" y="25687"/>
                  </a:lnTo>
                  <a:cubicBezTo>
                    <a:pt x="107533" y="17254"/>
                    <a:pt x="149481" y="10823"/>
                    <a:pt x="192053" y="6500"/>
                  </a:cubicBezTo>
                  <a:lnTo>
                    <a:pt x="320803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F88665D8-F5BA-F7EF-BC38-BF1D211856AB}"/>
                </a:ext>
              </a:extLst>
            </p:cNvPr>
            <p:cNvSpPr/>
            <p:nvPr/>
          </p:nvSpPr>
          <p:spPr>
            <a:xfrm>
              <a:off x="2178762" y="3216728"/>
              <a:ext cx="620719" cy="344698"/>
            </a:xfrm>
            <a:custGeom>
              <a:avLst/>
              <a:gdLst>
                <a:gd name="connsiteX0" fmla="*/ 620719 w 620719"/>
                <a:gd name="connsiteY0" fmla="*/ 0 h 344698"/>
                <a:gd name="connsiteX1" fmla="*/ 620647 w 620719"/>
                <a:gd name="connsiteY1" fmla="*/ 280 h 344698"/>
                <a:gd name="connsiteX2" fmla="*/ 524619 w 620719"/>
                <a:gd name="connsiteY2" fmla="*/ 24981 h 344698"/>
                <a:gd name="connsiteX3" fmla="*/ 5592 w 620719"/>
                <a:gd name="connsiteY3" fmla="*/ 339165 h 344698"/>
                <a:gd name="connsiteX4" fmla="*/ 566 w 620719"/>
                <a:gd name="connsiteY4" fmla="*/ 344698 h 344698"/>
                <a:gd name="connsiteX5" fmla="*/ 0 w 620719"/>
                <a:gd name="connsiteY5" fmla="*/ 344074 h 344698"/>
                <a:gd name="connsiteX6" fmla="*/ 4561 w 620719"/>
                <a:gd name="connsiteY6" fmla="*/ 339056 h 344698"/>
                <a:gd name="connsiteX7" fmla="*/ 523629 w 620719"/>
                <a:gd name="connsiteY7" fmla="*/ 24964 h 344698"/>
                <a:gd name="connsiteX8" fmla="*/ 620719 w 620719"/>
                <a:gd name="connsiteY8" fmla="*/ 0 h 34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0719" h="344698">
                  <a:moveTo>
                    <a:pt x="620719" y="0"/>
                  </a:moveTo>
                  <a:lnTo>
                    <a:pt x="620647" y="280"/>
                  </a:lnTo>
                  <a:lnTo>
                    <a:pt x="524619" y="24981"/>
                  </a:lnTo>
                  <a:cubicBezTo>
                    <a:pt x="326294" y="86690"/>
                    <a:pt x="148863" y="195841"/>
                    <a:pt x="5592" y="339165"/>
                  </a:cubicBezTo>
                  <a:lnTo>
                    <a:pt x="566" y="344698"/>
                  </a:lnTo>
                  <a:lnTo>
                    <a:pt x="0" y="344074"/>
                  </a:lnTo>
                  <a:lnTo>
                    <a:pt x="4561" y="339056"/>
                  </a:lnTo>
                  <a:cubicBezTo>
                    <a:pt x="147844" y="195774"/>
                    <a:pt x="325288" y="86655"/>
                    <a:pt x="523629" y="24964"/>
                  </a:cubicBezTo>
                  <a:lnTo>
                    <a:pt x="620719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0DF7808E-88CF-34F8-371B-EA3B1A3FBCE7}"/>
                </a:ext>
              </a:extLst>
            </p:cNvPr>
            <p:cNvSpPr/>
            <p:nvPr/>
          </p:nvSpPr>
          <p:spPr>
            <a:xfrm>
              <a:off x="2799375" y="3216972"/>
              <a:ext cx="180" cy="169"/>
            </a:xfrm>
            <a:custGeom>
              <a:avLst/>
              <a:gdLst>
                <a:gd name="connsiteX0" fmla="*/ 180 w 180"/>
                <a:gd name="connsiteY0" fmla="*/ 0 h 169"/>
                <a:gd name="connsiteX1" fmla="*/ 146 w 180"/>
                <a:gd name="connsiteY1" fmla="*/ 131 h 169"/>
                <a:gd name="connsiteX2" fmla="*/ 0 w 180"/>
                <a:gd name="connsiteY2" fmla="*/ 169 h 169"/>
                <a:gd name="connsiteX3" fmla="*/ 33 w 180"/>
                <a:gd name="connsiteY3" fmla="*/ 37 h 169"/>
                <a:gd name="connsiteX4" fmla="*/ 180 w 180"/>
                <a:gd name="connsiteY4" fmla="*/ 0 h 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" h="169">
                  <a:moveTo>
                    <a:pt x="180" y="0"/>
                  </a:moveTo>
                  <a:lnTo>
                    <a:pt x="146" y="131"/>
                  </a:lnTo>
                  <a:lnTo>
                    <a:pt x="0" y="169"/>
                  </a:lnTo>
                  <a:lnTo>
                    <a:pt x="33" y="37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1852B8E8-6DB1-3B5C-65B3-2099B4343615}"/>
                </a:ext>
              </a:extLst>
            </p:cNvPr>
            <p:cNvSpPr/>
            <p:nvPr/>
          </p:nvSpPr>
          <p:spPr>
            <a:xfrm>
              <a:off x="2179567" y="3217140"/>
              <a:ext cx="620157" cy="689516"/>
            </a:xfrm>
            <a:custGeom>
              <a:avLst/>
              <a:gdLst>
                <a:gd name="connsiteX0" fmla="*/ 619809 w 620157"/>
                <a:gd name="connsiteY0" fmla="*/ 0 h 689516"/>
                <a:gd name="connsiteX1" fmla="*/ 597054 w 620157"/>
                <a:gd name="connsiteY1" fmla="*/ 88497 h 689516"/>
                <a:gd name="connsiteX2" fmla="*/ 571316 w 620157"/>
                <a:gd name="connsiteY2" fmla="*/ 343808 h 689516"/>
                <a:gd name="connsiteX3" fmla="*/ 571333 w 620157"/>
                <a:gd name="connsiteY3" fmla="*/ 344136 h 689516"/>
                <a:gd name="connsiteX4" fmla="*/ 571316 w 620157"/>
                <a:gd name="connsiteY4" fmla="*/ 344463 h 689516"/>
                <a:gd name="connsiteX5" fmla="*/ 571320 w 620157"/>
                <a:gd name="connsiteY5" fmla="*/ 344548 h 689516"/>
                <a:gd name="connsiteX6" fmla="*/ 571316 w 620157"/>
                <a:gd name="connsiteY6" fmla="*/ 344632 h 689516"/>
                <a:gd name="connsiteX7" fmla="*/ 597045 w 620157"/>
                <a:gd name="connsiteY7" fmla="*/ 600108 h 689516"/>
                <a:gd name="connsiteX8" fmla="*/ 619955 w 620157"/>
                <a:gd name="connsiteY8" fmla="*/ 689299 h 689516"/>
                <a:gd name="connsiteX9" fmla="*/ 620112 w 620157"/>
                <a:gd name="connsiteY9" fmla="*/ 689339 h 689516"/>
                <a:gd name="connsiteX10" fmla="*/ 620157 w 620157"/>
                <a:gd name="connsiteY10" fmla="*/ 689516 h 689516"/>
                <a:gd name="connsiteX11" fmla="*/ 524742 w 620157"/>
                <a:gd name="connsiteY11" fmla="*/ 664983 h 689516"/>
                <a:gd name="connsiteX12" fmla="*/ 297612 w 620157"/>
                <a:gd name="connsiteY12" fmla="*/ 569037 h 689516"/>
                <a:gd name="connsiteX13" fmla="*/ 221117 w 620157"/>
                <a:gd name="connsiteY13" fmla="*/ 522565 h 689516"/>
                <a:gd name="connsiteX14" fmla="*/ 193039 w 620157"/>
                <a:gd name="connsiteY14" fmla="*/ 505490 h 689516"/>
                <a:gd name="connsiteX15" fmla="*/ 178432 w 620157"/>
                <a:gd name="connsiteY15" fmla="*/ 494567 h 689516"/>
                <a:gd name="connsiteX16" fmla="*/ 95470 w 620157"/>
                <a:gd name="connsiteY16" fmla="*/ 432466 h 689516"/>
                <a:gd name="connsiteX17" fmla="*/ 5540 w 620157"/>
                <a:gd name="connsiteY17" fmla="*/ 350650 h 689516"/>
                <a:gd name="connsiteX18" fmla="*/ 0 w 620157"/>
                <a:gd name="connsiteY18" fmla="*/ 344548 h 689516"/>
                <a:gd name="connsiteX19" fmla="*/ 5540 w 620157"/>
                <a:gd name="connsiteY19" fmla="*/ 338453 h 689516"/>
                <a:gd name="connsiteX20" fmla="*/ 524420 w 620157"/>
                <a:gd name="connsiteY20" fmla="*/ 24523 h 689516"/>
                <a:gd name="connsiteX21" fmla="*/ 619809 w 620157"/>
                <a:gd name="connsiteY21" fmla="*/ 0 h 68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0157" h="689516">
                  <a:moveTo>
                    <a:pt x="619809" y="0"/>
                  </a:moveTo>
                  <a:lnTo>
                    <a:pt x="597054" y="88497"/>
                  </a:lnTo>
                  <a:cubicBezTo>
                    <a:pt x="580178" y="170965"/>
                    <a:pt x="571316" y="256352"/>
                    <a:pt x="571316" y="343808"/>
                  </a:cubicBezTo>
                  <a:lnTo>
                    <a:pt x="571333" y="344136"/>
                  </a:lnTo>
                  <a:lnTo>
                    <a:pt x="571316" y="344463"/>
                  </a:lnTo>
                  <a:lnTo>
                    <a:pt x="571320" y="344548"/>
                  </a:lnTo>
                  <a:lnTo>
                    <a:pt x="571316" y="344632"/>
                  </a:lnTo>
                  <a:cubicBezTo>
                    <a:pt x="571316" y="432145"/>
                    <a:pt x="580176" y="517587"/>
                    <a:pt x="597045" y="600108"/>
                  </a:cubicBezTo>
                  <a:lnTo>
                    <a:pt x="619955" y="689299"/>
                  </a:lnTo>
                  <a:lnTo>
                    <a:pt x="620112" y="689339"/>
                  </a:lnTo>
                  <a:lnTo>
                    <a:pt x="620157" y="689516"/>
                  </a:lnTo>
                  <a:lnTo>
                    <a:pt x="524742" y="664983"/>
                  </a:lnTo>
                  <a:cubicBezTo>
                    <a:pt x="445406" y="640307"/>
                    <a:pt x="369413" y="608042"/>
                    <a:pt x="297612" y="569037"/>
                  </a:cubicBezTo>
                  <a:lnTo>
                    <a:pt x="221117" y="522565"/>
                  </a:lnTo>
                  <a:lnTo>
                    <a:pt x="193039" y="505490"/>
                  </a:lnTo>
                  <a:lnTo>
                    <a:pt x="178432" y="494567"/>
                  </a:lnTo>
                  <a:lnTo>
                    <a:pt x="95470" y="432466"/>
                  </a:lnTo>
                  <a:cubicBezTo>
                    <a:pt x="64198" y="406633"/>
                    <a:pt x="34186" y="379325"/>
                    <a:pt x="5540" y="350650"/>
                  </a:cubicBezTo>
                  <a:lnTo>
                    <a:pt x="0" y="344548"/>
                  </a:lnTo>
                  <a:lnTo>
                    <a:pt x="5540" y="338453"/>
                  </a:lnTo>
                  <a:cubicBezTo>
                    <a:pt x="148770" y="195245"/>
                    <a:pt x="326151" y="86182"/>
                    <a:pt x="524420" y="24523"/>
                  </a:cubicBezTo>
                  <a:lnTo>
                    <a:pt x="619809" y="0"/>
                  </a:lnTo>
                  <a:close/>
                </a:path>
              </a:pathLst>
            </a:custGeom>
            <a:solidFill>
              <a:srgbClr val="47D0EC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CACD09F4-44B4-C25E-E74E-239BC679E9C5}"/>
                </a:ext>
              </a:extLst>
            </p:cNvPr>
            <p:cNvSpPr/>
            <p:nvPr/>
          </p:nvSpPr>
          <p:spPr>
            <a:xfrm>
              <a:off x="3362677" y="3217140"/>
              <a:ext cx="619808" cy="345774"/>
            </a:xfrm>
            <a:custGeom>
              <a:avLst/>
              <a:gdLst>
                <a:gd name="connsiteX0" fmla="*/ 0 w 619808"/>
                <a:gd name="connsiteY0" fmla="*/ 0 h 345774"/>
                <a:gd name="connsiteX1" fmla="*/ 95387 w 619808"/>
                <a:gd name="connsiteY1" fmla="*/ 24523 h 345774"/>
                <a:gd name="connsiteX2" fmla="*/ 614268 w 619808"/>
                <a:gd name="connsiteY2" fmla="*/ 338453 h 345774"/>
                <a:gd name="connsiteX3" fmla="*/ 619808 w 619808"/>
                <a:gd name="connsiteY3" fmla="*/ 344548 h 345774"/>
                <a:gd name="connsiteX4" fmla="*/ 618695 w 619808"/>
                <a:gd name="connsiteY4" fmla="*/ 345774 h 345774"/>
                <a:gd name="connsiteX5" fmla="*/ 618175 w 619808"/>
                <a:gd name="connsiteY5" fmla="*/ 345201 h 345774"/>
                <a:gd name="connsiteX6" fmla="*/ 618567 w 619808"/>
                <a:gd name="connsiteY6" fmla="*/ 344769 h 345774"/>
                <a:gd name="connsiteX7" fmla="*/ 613103 w 619808"/>
                <a:gd name="connsiteY7" fmla="*/ 338753 h 345774"/>
                <a:gd name="connsiteX8" fmla="*/ 94076 w 619808"/>
                <a:gd name="connsiteY8" fmla="*/ 24569 h 345774"/>
                <a:gd name="connsiteX9" fmla="*/ 102 w 619808"/>
                <a:gd name="connsiteY9" fmla="*/ 397 h 345774"/>
                <a:gd name="connsiteX10" fmla="*/ 0 w 619808"/>
                <a:gd name="connsiteY10" fmla="*/ 0 h 345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9808" h="345774">
                  <a:moveTo>
                    <a:pt x="0" y="0"/>
                  </a:moveTo>
                  <a:lnTo>
                    <a:pt x="95387" y="24523"/>
                  </a:lnTo>
                  <a:cubicBezTo>
                    <a:pt x="293657" y="86182"/>
                    <a:pt x="471038" y="195245"/>
                    <a:pt x="614268" y="338453"/>
                  </a:cubicBezTo>
                  <a:lnTo>
                    <a:pt x="619808" y="344548"/>
                  </a:lnTo>
                  <a:lnTo>
                    <a:pt x="618695" y="345774"/>
                  </a:lnTo>
                  <a:lnTo>
                    <a:pt x="618175" y="345201"/>
                  </a:lnTo>
                  <a:lnTo>
                    <a:pt x="618567" y="344769"/>
                  </a:lnTo>
                  <a:lnTo>
                    <a:pt x="613103" y="338753"/>
                  </a:lnTo>
                  <a:cubicBezTo>
                    <a:pt x="469833" y="195429"/>
                    <a:pt x="292402" y="86278"/>
                    <a:pt x="94076" y="24569"/>
                  </a:cubicBezTo>
                  <a:lnTo>
                    <a:pt x="102" y="3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7AB35D68-507C-3F72-1241-40942B14A32C}"/>
                </a:ext>
              </a:extLst>
            </p:cNvPr>
            <p:cNvSpPr/>
            <p:nvPr/>
          </p:nvSpPr>
          <p:spPr>
            <a:xfrm>
              <a:off x="3362632" y="3217499"/>
              <a:ext cx="210" cy="286"/>
            </a:xfrm>
            <a:custGeom>
              <a:avLst/>
              <a:gdLst>
                <a:gd name="connsiteX0" fmla="*/ 0 w 210"/>
                <a:gd name="connsiteY0" fmla="*/ 0 h 286"/>
                <a:gd name="connsiteX1" fmla="*/ 147 w 210"/>
                <a:gd name="connsiteY1" fmla="*/ 38 h 286"/>
                <a:gd name="connsiteX2" fmla="*/ 210 w 210"/>
                <a:gd name="connsiteY2" fmla="*/ 286 h 286"/>
                <a:gd name="connsiteX3" fmla="*/ 64 w 210"/>
                <a:gd name="connsiteY3" fmla="*/ 248 h 286"/>
                <a:gd name="connsiteX4" fmla="*/ 0 w 210"/>
                <a:gd name="connsiteY4" fmla="*/ 0 h 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" h="286">
                  <a:moveTo>
                    <a:pt x="0" y="0"/>
                  </a:moveTo>
                  <a:lnTo>
                    <a:pt x="147" y="38"/>
                  </a:lnTo>
                  <a:lnTo>
                    <a:pt x="210" y="286"/>
                  </a:lnTo>
                  <a:lnTo>
                    <a:pt x="64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CE41A862-ADF8-B86A-2C46-06F42B64DD00}"/>
                </a:ext>
              </a:extLst>
            </p:cNvPr>
            <p:cNvSpPr/>
            <p:nvPr/>
          </p:nvSpPr>
          <p:spPr>
            <a:xfrm>
              <a:off x="3362633" y="3217731"/>
              <a:ext cx="39420" cy="197524"/>
            </a:xfrm>
            <a:custGeom>
              <a:avLst/>
              <a:gdLst>
                <a:gd name="connsiteX0" fmla="*/ 0 w 39420"/>
                <a:gd name="connsiteY0" fmla="*/ 0 h 197524"/>
                <a:gd name="connsiteX1" fmla="*/ 63 w 39420"/>
                <a:gd name="connsiteY1" fmla="*/ 16 h 197524"/>
                <a:gd name="connsiteX2" fmla="*/ 22808 w 39420"/>
                <a:gd name="connsiteY2" fmla="*/ 88564 h 197524"/>
                <a:gd name="connsiteX3" fmla="*/ 39420 w 39420"/>
                <a:gd name="connsiteY3" fmla="*/ 197524 h 197524"/>
                <a:gd name="connsiteX4" fmla="*/ 22809 w 39420"/>
                <a:gd name="connsiteY4" fmla="*/ 88693 h 197524"/>
                <a:gd name="connsiteX5" fmla="*/ 0 w 39420"/>
                <a:gd name="connsiteY5" fmla="*/ 0 h 197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420" h="197524">
                  <a:moveTo>
                    <a:pt x="0" y="0"/>
                  </a:moveTo>
                  <a:lnTo>
                    <a:pt x="63" y="16"/>
                  </a:lnTo>
                  <a:lnTo>
                    <a:pt x="22808" y="88564"/>
                  </a:lnTo>
                  <a:lnTo>
                    <a:pt x="39420" y="197524"/>
                  </a:lnTo>
                  <a:lnTo>
                    <a:pt x="22809" y="88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267C753C-BE6A-4DA4-5291-21CEAEDE3D2A}"/>
                </a:ext>
              </a:extLst>
            </p:cNvPr>
            <p:cNvSpPr/>
            <p:nvPr/>
          </p:nvSpPr>
          <p:spPr>
            <a:xfrm>
              <a:off x="3362558" y="3217786"/>
              <a:ext cx="618294" cy="688551"/>
            </a:xfrm>
            <a:custGeom>
              <a:avLst/>
              <a:gdLst>
                <a:gd name="connsiteX0" fmla="*/ 284 w 618294"/>
                <a:gd name="connsiteY0" fmla="*/ 0 h 688551"/>
                <a:gd name="connsiteX1" fmla="*/ 93266 w 618294"/>
                <a:gd name="connsiteY1" fmla="*/ 23907 h 688551"/>
                <a:gd name="connsiteX2" fmla="*/ 612334 w 618294"/>
                <a:gd name="connsiteY2" fmla="*/ 337999 h 688551"/>
                <a:gd name="connsiteX3" fmla="*/ 618294 w 618294"/>
                <a:gd name="connsiteY3" fmla="*/ 344556 h 688551"/>
                <a:gd name="connsiteX4" fmla="*/ 613222 w 618294"/>
                <a:gd name="connsiteY4" fmla="*/ 350138 h 688551"/>
                <a:gd name="connsiteX5" fmla="*/ 94195 w 618294"/>
                <a:gd name="connsiteY5" fmla="*/ 664322 h 688551"/>
                <a:gd name="connsiteX6" fmla="*/ 0 w 618294"/>
                <a:gd name="connsiteY6" fmla="*/ 688551 h 688551"/>
                <a:gd name="connsiteX7" fmla="*/ 22884 w 618294"/>
                <a:gd name="connsiteY7" fmla="*/ 599463 h 688551"/>
                <a:gd name="connsiteX8" fmla="*/ 48611 w 618294"/>
                <a:gd name="connsiteY8" fmla="*/ 343987 h 688551"/>
                <a:gd name="connsiteX9" fmla="*/ 48607 w 618294"/>
                <a:gd name="connsiteY9" fmla="*/ 343903 h 688551"/>
                <a:gd name="connsiteX10" fmla="*/ 48611 w 618294"/>
                <a:gd name="connsiteY10" fmla="*/ 343818 h 688551"/>
                <a:gd name="connsiteX11" fmla="*/ 48595 w 618294"/>
                <a:gd name="connsiteY11" fmla="*/ 343491 h 688551"/>
                <a:gd name="connsiteX12" fmla="*/ 48611 w 618294"/>
                <a:gd name="connsiteY12" fmla="*/ 343163 h 688551"/>
                <a:gd name="connsiteX13" fmla="*/ 22873 w 618294"/>
                <a:gd name="connsiteY13" fmla="*/ 87852 h 688551"/>
                <a:gd name="connsiteX14" fmla="*/ 284 w 618294"/>
                <a:gd name="connsiteY14" fmla="*/ 0 h 688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18294" h="688551">
                  <a:moveTo>
                    <a:pt x="284" y="0"/>
                  </a:moveTo>
                  <a:lnTo>
                    <a:pt x="93266" y="23907"/>
                  </a:lnTo>
                  <a:cubicBezTo>
                    <a:pt x="291607" y="85598"/>
                    <a:pt x="469052" y="194717"/>
                    <a:pt x="612334" y="337999"/>
                  </a:cubicBezTo>
                  <a:lnTo>
                    <a:pt x="618294" y="344556"/>
                  </a:lnTo>
                  <a:lnTo>
                    <a:pt x="613222" y="350138"/>
                  </a:lnTo>
                  <a:cubicBezTo>
                    <a:pt x="469952" y="493463"/>
                    <a:pt x="292521" y="602614"/>
                    <a:pt x="94195" y="664322"/>
                  </a:cubicBezTo>
                  <a:lnTo>
                    <a:pt x="0" y="688551"/>
                  </a:lnTo>
                  <a:lnTo>
                    <a:pt x="22884" y="599463"/>
                  </a:lnTo>
                  <a:cubicBezTo>
                    <a:pt x="39753" y="516942"/>
                    <a:pt x="48611" y="431500"/>
                    <a:pt x="48611" y="343987"/>
                  </a:cubicBezTo>
                  <a:lnTo>
                    <a:pt x="48607" y="343903"/>
                  </a:lnTo>
                  <a:lnTo>
                    <a:pt x="48611" y="343818"/>
                  </a:lnTo>
                  <a:lnTo>
                    <a:pt x="48595" y="343491"/>
                  </a:lnTo>
                  <a:lnTo>
                    <a:pt x="48611" y="343163"/>
                  </a:lnTo>
                  <a:cubicBezTo>
                    <a:pt x="48611" y="255707"/>
                    <a:pt x="39749" y="170320"/>
                    <a:pt x="22873" y="87852"/>
                  </a:cubicBezTo>
                  <a:lnTo>
                    <a:pt x="284" y="0"/>
                  </a:lnTo>
                  <a:close/>
                </a:path>
              </a:pathLst>
            </a:custGeom>
            <a:solidFill>
              <a:srgbClr val="4BE0E8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C1BDFB35-6FEC-EFA6-FD9E-4E1037B6E1B3}"/>
                </a:ext>
              </a:extLst>
            </p:cNvPr>
            <p:cNvSpPr/>
            <p:nvPr/>
          </p:nvSpPr>
          <p:spPr>
            <a:xfrm>
              <a:off x="3402053" y="3415256"/>
              <a:ext cx="9100" cy="146105"/>
            </a:xfrm>
            <a:custGeom>
              <a:avLst/>
              <a:gdLst>
                <a:gd name="connsiteX0" fmla="*/ 0 w 9100"/>
                <a:gd name="connsiteY0" fmla="*/ 0 h 146105"/>
                <a:gd name="connsiteX1" fmla="*/ 2578 w 9100"/>
                <a:gd name="connsiteY1" fmla="*/ 16888 h 146105"/>
                <a:gd name="connsiteX2" fmla="*/ 9100 w 9100"/>
                <a:gd name="connsiteY2" fmla="*/ 146021 h 146105"/>
                <a:gd name="connsiteX3" fmla="*/ 9095 w 9100"/>
                <a:gd name="connsiteY3" fmla="*/ 146105 h 146105"/>
                <a:gd name="connsiteX4" fmla="*/ 2578 w 9100"/>
                <a:gd name="connsiteY4" fmla="*/ 16907 h 146105"/>
                <a:gd name="connsiteX5" fmla="*/ 0 w 9100"/>
                <a:gd name="connsiteY5" fmla="*/ 0 h 14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00" h="146105">
                  <a:moveTo>
                    <a:pt x="0" y="0"/>
                  </a:moveTo>
                  <a:lnTo>
                    <a:pt x="2578" y="16888"/>
                  </a:lnTo>
                  <a:lnTo>
                    <a:pt x="9100" y="146021"/>
                  </a:lnTo>
                  <a:lnTo>
                    <a:pt x="9095" y="146105"/>
                  </a:lnTo>
                  <a:lnTo>
                    <a:pt x="2578" y="169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88ED8E4E-877D-2EF2-A5D1-A17BF7270C81}"/>
                </a:ext>
              </a:extLst>
            </p:cNvPr>
            <p:cNvSpPr/>
            <p:nvPr/>
          </p:nvSpPr>
          <p:spPr>
            <a:xfrm>
              <a:off x="2757420" y="3421576"/>
              <a:ext cx="1614" cy="10587"/>
            </a:xfrm>
            <a:custGeom>
              <a:avLst/>
              <a:gdLst>
                <a:gd name="connsiteX0" fmla="*/ 1614 w 1614"/>
                <a:gd name="connsiteY0" fmla="*/ 0 h 10587"/>
                <a:gd name="connsiteX1" fmla="*/ 0 w 1614"/>
                <a:gd name="connsiteY1" fmla="*/ 10587 h 10587"/>
                <a:gd name="connsiteX2" fmla="*/ 1 w 1614"/>
                <a:gd name="connsiteY2" fmla="*/ 10568 h 10587"/>
                <a:gd name="connsiteX3" fmla="*/ 1614 w 1614"/>
                <a:gd name="connsiteY3" fmla="*/ 0 h 10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4" h="10587">
                  <a:moveTo>
                    <a:pt x="1614" y="0"/>
                  </a:moveTo>
                  <a:lnTo>
                    <a:pt x="0" y="10587"/>
                  </a:lnTo>
                  <a:lnTo>
                    <a:pt x="1" y="10568"/>
                  </a:lnTo>
                  <a:lnTo>
                    <a:pt x="1614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D9107909-EBF5-1E0B-1A75-19EDB302401C}"/>
                </a:ext>
              </a:extLst>
            </p:cNvPr>
            <p:cNvSpPr/>
            <p:nvPr/>
          </p:nvSpPr>
          <p:spPr>
            <a:xfrm>
              <a:off x="2750899" y="3432772"/>
              <a:ext cx="6490" cy="128589"/>
            </a:xfrm>
            <a:custGeom>
              <a:avLst/>
              <a:gdLst>
                <a:gd name="connsiteX0" fmla="*/ 6490 w 6490"/>
                <a:gd name="connsiteY0" fmla="*/ 0 h 128589"/>
                <a:gd name="connsiteX1" fmla="*/ 4 w 6490"/>
                <a:gd name="connsiteY1" fmla="*/ 128589 h 128589"/>
                <a:gd name="connsiteX2" fmla="*/ 0 w 6490"/>
                <a:gd name="connsiteY2" fmla="*/ 128505 h 128589"/>
                <a:gd name="connsiteX3" fmla="*/ 6490 w 6490"/>
                <a:gd name="connsiteY3" fmla="*/ 0 h 12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90" h="128589">
                  <a:moveTo>
                    <a:pt x="6490" y="0"/>
                  </a:moveTo>
                  <a:lnTo>
                    <a:pt x="4" y="128589"/>
                  </a:lnTo>
                  <a:lnTo>
                    <a:pt x="0" y="128505"/>
                  </a:lnTo>
                  <a:lnTo>
                    <a:pt x="649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BCC15B41-CE72-D671-6DE6-D4F1D28285AE}"/>
                </a:ext>
              </a:extLst>
            </p:cNvPr>
            <p:cNvSpPr/>
            <p:nvPr/>
          </p:nvSpPr>
          <p:spPr>
            <a:xfrm>
              <a:off x="1812276" y="3560852"/>
              <a:ext cx="367006" cy="1266927"/>
            </a:xfrm>
            <a:custGeom>
              <a:avLst/>
              <a:gdLst>
                <a:gd name="connsiteX0" fmla="*/ 366440 w 367006"/>
                <a:gd name="connsiteY0" fmla="*/ 0 h 1266927"/>
                <a:gd name="connsiteX1" fmla="*/ 367006 w 367006"/>
                <a:gd name="connsiteY1" fmla="*/ 623 h 1266927"/>
                <a:gd name="connsiteX2" fmla="*/ 366612 w 367006"/>
                <a:gd name="connsiteY2" fmla="*/ 1057 h 1266927"/>
                <a:gd name="connsiteX3" fmla="*/ 366850 w 367006"/>
                <a:gd name="connsiteY3" fmla="*/ 1319 h 1266927"/>
                <a:gd name="connsiteX4" fmla="*/ 291096 w 367006"/>
                <a:gd name="connsiteY4" fmla="*/ 84657 h 1266927"/>
                <a:gd name="connsiteX5" fmla="*/ 1918 w 367006"/>
                <a:gd name="connsiteY5" fmla="*/ 890063 h 1266927"/>
                <a:gd name="connsiteX6" fmla="*/ 27647 w 367006"/>
                <a:gd name="connsiteY6" fmla="*/ 1145241 h 1266927"/>
                <a:gd name="connsiteX7" fmla="*/ 50556 w 367006"/>
                <a:gd name="connsiteY7" fmla="*/ 1234326 h 1266927"/>
                <a:gd name="connsiteX8" fmla="*/ 77303 w 367006"/>
                <a:gd name="connsiteY8" fmla="*/ 1241202 h 1266927"/>
                <a:gd name="connsiteX9" fmla="*/ 203042 w 367006"/>
                <a:gd name="connsiteY9" fmla="*/ 1260390 h 1266927"/>
                <a:gd name="connsiteX10" fmla="*/ 332291 w 367006"/>
                <a:gd name="connsiteY10" fmla="*/ 1266916 h 1266927"/>
                <a:gd name="connsiteX11" fmla="*/ 332062 w 367006"/>
                <a:gd name="connsiteY11" fmla="*/ 1266927 h 1266927"/>
                <a:gd name="connsiteX12" fmla="*/ 76751 w 367006"/>
                <a:gd name="connsiteY12" fmla="*/ 1241189 h 1266927"/>
                <a:gd name="connsiteX13" fmla="*/ 48327 w 367006"/>
                <a:gd name="connsiteY13" fmla="*/ 1233881 h 1266927"/>
                <a:gd name="connsiteX14" fmla="*/ 25738 w 367006"/>
                <a:gd name="connsiteY14" fmla="*/ 1146028 h 1266927"/>
                <a:gd name="connsiteX15" fmla="*/ 0 w 367006"/>
                <a:gd name="connsiteY15" fmla="*/ 890717 h 1266927"/>
                <a:gd name="connsiteX16" fmla="*/ 289283 w 367006"/>
                <a:gd name="connsiteY16" fmla="*/ 84895 h 1266927"/>
                <a:gd name="connsiteX17" fmla="*/ 366440 w 367006"/>
                <a:gd name="connsiteY17" fmla="*/ 0 h 1266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7006" h="1266927">
                  <a:moveTo>
                    <a:pt x="366440" y="0"/>
                  </a:moveTo>
                  <a:lnTo>
                    <a:pt x="367006" y="623"/>
                  </a:lnTo>
                  <a:lnTo>
                    <a:pt x="366612" y="1057"/>
                  </a:lnTo>
                  <a:lnTo>
                    <a:pt x="366850" y="1319"/>
                  </a:lnTo>
                  <a:lnTo>
                    <a:pt x="291096" y="84657"/>
                  </a:lnTo>
                  <a:cubicBezTo>
                    <a:pt x="110440" y="303527"/>
                    <a:pt x="1918" y="584124"/>
                    <a:pt x="1918" y="890063"/>
                  </a:cubicBezTo>
                  <a:cubicBezTo>
                    <a:pt x="1918" y="977474"/>
                    <a:pt x="10778" y="1062816"/>
                    <a:pt x="27647" y="1145241"/>
                  </a:cubicBezTo>
                  <a:lnTo>
                    <a:pt x="50556" y="1234326"/>
                  </a:lnTo>
                  <a:lnTo>
                    <a:pt x="77303" y="1241202"/>
                  </a:lnTo>
                  <a:cubicBezTo>
                    <a:pt x="118522" y="1249636"/>
                    <a:pt x="160470" y="1256067"/>
                    <a:pt x="203042" y="1260390"/>
                  </a:cubicBezTo>
                  <a:lnTo>
                    <a:pt x="332291" y="1266916"/>
                  </a:lnTo>
                  <a:lnTo>
                    <a:pt x="332062" y="1266927"/>
                  </a:lnTo>
                  <a:cubicBezTo>
                    <a:pt x="244605" y="1266927"/>
                    <a:pt x="159219" y="1258065"/>
                    <a:pt x="76751" y="1241189"/>
                  </a:cubicBezTo>
                  <a:lnTo>
                    <a:pt x="48327" y="1233881"/>
                  </a:lnTo>
                  <a:lnTo>
                    <a:pt x="25738" y="1146028"/>
                  </a:lnTo>
                  <a:cubicBezTo>
                    <a:pt x="8862" y="1063560"/>
                    <a:pt x="0" y="978174"/>
                    <a:pt x="0" y="890717"/>
                  </a:cubicBezTo>
                  <a:cubicBezTo>
                    <a:pt x="0" y="584620"/>
                    <a:pt x="108562" y="303878"/>
                    <a:pt x="289283" y="84895"/>
                  </a:cubicBezTo>
                  <a:lnTo>
                    <a:pt x="36644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6E3D13DE-EC66-F14A-8E35-03EEB6B5CC9B}"/>
                </a:ext>
              </a:extLst>
            </p:cNvPr>
            <p:cNvSpPr/>
            <p:nvPr/>
          </p:nvSpPr>
          <p:spPr>
            <a:xfrm>
              <a:off x="2750886" y="3561360"/>
              <a:ext cx="48942" cy="345158"/>
            </a:xfrm>
            <a:custGeom>
              <a:avLst/>
              <a:gdLst>
                <a:gd name="connsiteX0" fmla="*/ 17 w 48942"/>
                <a:gd name="connsiteY0" fmla="*/ 0 h 345158"/>
                <a:gd name="connsiteX1" fmla="*/ 6537 w 48942"/>
                <a:gd name="connsiteY1" fmla="*/ 129114 h 345158"/>
                <a:gd name="connsiteX2" fmla="*/ 25734 w 48942"/>
                <a:gd name="connsiteY2" fmla="*/ 254899 h 345158"/>
                <a:gd name="connsiteX3" fmla="*/ 48942 w 48942"/>
                <a:gd name="connsiteY3" fmla="*/ 345158 h 345158"/>
                <a:gd name="connsiteX4" fmla="*/ 48792 w 48942"/>
                <a:gd name="connsiteY4" fmla="*/ 345119 h 345158"/>
                <a:gd name="connsiteX5" fmla="*/ 25724 w 48942"/>
                <a:gd name="connsiteY5" fmla="*/ 255421 h 345158"/>
                <a:gd name="connsiteX6" fmla="*/ 6534 w 48942"/>
                <a:gd name="connsiteY6" fmla="*/ 129702 h 345158"/>
                <a:gd name="connsiteX7" fmla="*/ 0 w 48942"/>
                <a:gd name="connsiteY7" fmla="*/ 328 h 345158"/>
                <a:gd name="connsiteX8" fmla="*/ 17 w 48942"/>
                <a:gd name="connsiteY8" fmla="*/ 0 h 345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42" h="345158">
                  <a:moveTo>
                    <a:pt x="17" y="0"/>
                  </a:moveTo>
                  <a:lnTo>
                    <a:pt x="6537" y="129114"/>
                  </a:lnTo>
                  <a:cubicBezTo>
                    <a:pt x="10862" y="171701"/>
                    <a:pt x="17296" y="213665"/>
                    <a:pt x="25734" y="254899"/>
                  </a:cubicBezTo>
                  <a:lnTo>
                    <a:pt x="48942" y="345158"/>
                  </a:lnTo>
                  <a:lnTo>
                    <a:pt x="48792" y="345119"/>
                  </a:lnTo>
                  <a:lnTo>
                    <a:pt x="25724" y="255421"/>
                  </a:lnTo>
                  <a:cubicBezTo>
                    <a:pt x="17290" y="214209"/>
                    <a:pt x="10858" y="172267"/>
                    <a:pt x="6534" y="129702"/>
                  </a:cubicBezTo>
                  <a:lnTo>
                    <a:pt x="0" y="328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6D919E71-2043-C8E9-F66F-67051890EE86}"/>
                </a:ext>
              </a:extLst>
            </p:cNvPr>
            <p:cNvSpPr/>
            <p:nvPr/>
          </p:nvSpPr>
          <p:spPr>
            <a:xfrm>
              <a:off x="3362251" y="3561361"/>
              <a:ext cx="48915" cy="345055"/>
            </a:xfrm>
            <a:custGeom>
              <a:avLst/>
              <a:gdLst>
                <a:gd name="connsiteX0" fmla="*/ 48898 w 48915"/>
                <a:gd name="connsiteY0" fmla="*/ 0 h 345055"/>
                <a:gd name="connsiteX1" fmla="*/ 48915 w 48915"/>
                <a:gd name="connsiteY1" fmla="*/ 328 h 345055"/>
                <a:gd name="connsiteX2" fmla="*/ 42381 w 48915"/>
                <a:gd name="connsiteY2" fmla="*/ 129702 h 345055"/>
                <a:gd name="connsiteX3" fmla="*/ 23191 w 48915"/>
                <a:gd name="connsiteY3" fmla="*/ 255421 h 345055"/>
                <a:gd name="connsiteX4" fmla="*/ 150 w 48915"/>
                <a:gd name="connsiteY4" fmla="*/ 345017 h 345055"/>
                <a:gd name="connsiteX5" fmla="*/ 0 w 48915"/>
                <a:gd name="connsiteY5" fmla="*/ 345055 h 345055"/>
                <a:gd name="connsiteX6" fmla="*/ 23181 w 48915"/>
                <a:gd name="connsiteY6" fmla="*/ 254899 h 345055"/>
                <a:gd name="connsiteX7" fmla="*/ 42378 w 48915"/>
                <a:gd name="connsiteY7" fmla="*/ 129114 h 345055"/>
                <a:gd name="connsiteX8" fmla="*/ 48898 w 48915"/>
                <a:gd name="connsiteY8" fmla="*/ 0 h 34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15" h="345055">
                  <a:moveTo>
                    <a:pt x="48898" y="0"/>
                  </a:moveTo>
                  <a:lnTo>
                    <a:pt x="48915" y="328"/>
                  </a:lnTo>
                  <a:lnTo>
                    <a:pt x="42381" y="129702"/>
                  </a:lnTo>
                  <a:cubicBezTo>
                    <a:pt x="38058" y="172267"/>
                    <a:pt x="31626" y="214209"/>
                    <a:pt x="23191" y="255421"/>
                  </a:cubicBezTo>
                  <a:lnTo>
                    <a:pt x="150" y="345017"/>
                  </a:lnTo>
                  <a:lnTo>
                    <a:pt x="0" y="345055"/>
                  </a:lnTo>
                  <a:lnTo>
                    <a:pt x="23181" y="254899"/>
                  </a:lnTo>
                  <a:cubicBezTo>
                    <a:pt x="31619" y="213665"/>
                    <a:pt x="38054" y="171701"/>
                    <a:pt x="42378" y="129114"/>
                  </a:cubicBezTo>
                  <a:lnTo>
                    <a:pt x="48898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C84AE67-956B-9548-3D9C-642C21456347}"/>
                </a:ext>
              </a:extLst>
            </p:cNvPr>
            <p:cNvSpPr/>
            <p:nvPr/>
          </p:nvSpPr>
          <p:spPr>
            <a:xfrm>
              <a:off x="2179282" y="3561426"/>
              <a:ext cx="284" cy="312"/>
            </a:xfrm>
            <a:custGeom>
              <a:avLst/>
              <a:gdLst>
                <a:gd name="connsiteX0" fmla="*/ 45 w 284"/>
                <a:gd name="connsiteY0" fmla="*/ 0 h 312"/>
                <a:gd name="connsiteX1" fmla="*/ 284 w 284"/>
                <a:gd name="connsiteY1" fmla="*/ 262 h 312"/>
                <a:gd name="connsiteX2" fmla="*/ 239 w 284"/>
                <a:gd name="connsiteY2" fmla="*/ 312 h 312"/>
                <a:gd name="connsiteX3" fmla="*/ 0 w 284"/>
                <a:gd name="connsiteY3" fmla="*/ 49 h 312"/>
                <a:gd name="connsiteX4" fmla="*/ 45 w 284"/>
                <a:gd name="connsiteY4" fmla="*/ 0 h 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4" h="312">
                  <a:moveTo>
                    <a:pt x="45" y="0"/>
                  </a:moveTo>
                  <a:lnTo>
                    <a:pt x="284" y="262"/>
                  </a:lnTo>
                  <a:lnTo>
                    <a:pt x="239" y="312"/>
                  </a:lnTo>
                  <a:lnTo>
                    <a:pt x="0" y="49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CCEEFC4A-B7E7-02A3-7725-275BA670D284}"/>
                </a:ext>
              </a:extLst>
            </p:cNvPr>
            <p:cNvSpPr/>
            <p:nvPr/>
          </p:nvSpPr>
          <p:spPr>
            <a:xfrm>
              <a:off x="3981417" y="3561737"/>
              <a:ext cx="366441" cy="1233917"/>
            </a:xfrm>
            <a:custGeom>
              <a:avLst/>
              <a:gdLst>
                <a:gd name="connsiteX0" fmla="*/ 1114 w 366441"/>
                <a:gd name="connsiteY0" fmla="*/ 0 h 1233917"/>
                <a:gd name="connsiteX1" fmla="*/ 77263 w 366441"/>
                <a:gd name="connsiteY1" fmla="*/ 83772 h 1233917"/>
                <a:gd name="connsiteX2" fmla="*/ 366441 w 366441"/>
                <a:gd name="connsiteY2" fmla="*/ 889178 h 1233917"/>
                <a:gd name="connsiteX3" fmla="*/ 340712 w 366441"/>
                <a:gd name="connsiteY3" fmla="*/ 1144356 h 1233917"/>
                <a:gd name="connsiteX4" fmla="*/ 317804 w 366441"/>
                <a:gd name="connsiteY4" fmla="*/ 1233442 h 1233917"/>
                <a:gd name="connsiteX5" fmla="*/ 315959 w 366441"/>
                <a:gd name="connsiteY5" fmla="*/ 1233917 h 1233917"/>
                <a:gd name="connsiteX6" fmla="*/ 338784 w 366441"/>
                <a:gd name="connsiteY6" fmla="*/ 1145143 h 1233917"/>
                <a:gd name="connsiteX7" fmla="*/ 364522 w 366441"/>
                <a:gd name="connsiteY7" fmla="*/ 889832 h 1233917"/>
                <a:gd name="connsiteX8" fmla="*/ 75239 w 366441"/>
                <a:gd name="connsiteY8" fmla="*/ 84010 h 1233917"/>
                <a:gd name="connsiteX9" fmla="*/ 0 w 366441"/>
                <a:gd name="connsiteY9" fmla="*/ 1226 h 1233917"/>
                <a:gd name="connsiteX10" fmla="*/ 1114 w 366441"/>
                <a:gd name="connsiteY10" fmla="*/ 0 h 123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6441" h="1233917">
                  <a:moveTo>
                    <a:pt x="1114" y="0"/>
                  </a:moveTo>
                  <a:lnTo>
                    <a:pt x="77263" y="83772"/>
                  </a:lnTo>
                  <a:cubicBezTo>
                    <a:pt x="257919" y="302642"/>
                    <a:pt x="366441" y="583239"/>
                    <a:pt x="366441" y="889178"/>
                  </a:cubicBezTo>
                  <a:cubicBezTo>
                    <a:pt x="366441" y="976589"/>
                    <a:pt x="357582" y="1061931"/>
                    <a:pt x="340712" y="1144356"/>
                  </a:cubicBezTo>
                  <a:lnTo>
                    <a:pt x="317804" y="1233442"/>
                  </a:lnTo>
                  <a:lnTo>
                    <a:pt x="315959" y="1233917"/>
                  </a:lnTo>
                  <a:lnTo>
                    <a:pt x="338784" y="1145143"/>
                  </a:lnTo>
                  <a:cubicBezTo>
                    <a:pt x="355660" y="1062675"/>
                    <a:pt x="364522" y="977289"/>
                    <a:pt x="364522" y="889832"/>
                  </a:cubicBezTo>
                  <a:cubicBezTo>
                    <a:pt x="364522" y="583735"/>
                    <a:pt x="255960" y="302993"/>
                    <a:pt x="75239" y="84010"/>
                  </a:cubicBezTo>
                  <a:lnTo>
                    <a:pt x="0" y="1226"/>
                  </a:lnTo>
                  <a:lnTo>
                    <a:pt x="1114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17DB59F4-4394-7F5C-DFF4-E06CC7B9D327}"/>
                </a:ext>
              </a:extLst>
            </p:cNvPr>
            <p:cNvSpPr/>
            <p:nvPr/>
          </p:nvSpPr>
          <p:spPr>
            <a:xfrm>
              <a:off x="2179127" y="3561739"/>
              <a:ext cx="620661" cy="345167"/>
            </a:xfrm>
            <a:custGeom>
              <a:avLst/>
              <a:gdLst>
                <a:gd name="connsiteX0" fmla="*/ 395 w 620661"/>
                <a:gd name="connsiteY0" fmla="*/ 0 h 345167"/>
                <a:gd name="connsiteX1" fmla="*/ 6114 w 620661"/>
                <a:gd name="connsiteY1" fmla="*/ 6293 h 345167"/>
                <a:gd name="connsiteX2" fmla="*/ 96077 w 620661"/>
                <a:gd name="connsiteY2" fmla="*/ 88056 h 345167"/>
                <a:gd name="connsiteX3" fmla="*/ 178872 w 620661"/>
                <a:gd name="connsiteY3" fmla="*/ 149969 h 345167"/>
                <a:gd name="connsiteX4" fmla="*/ 193400 w 620661"/>
                <a:gd name="connsiteY4" fmla="*/ 160844 h 345167"/>
                <a:gd name="connsiteX5" fmla="*/ 193479 w 620661"/>
                <a:gd name="connsiteY5" fmla="*/ 160892 h 345167"/>
                <a:gd name="connsiteX6" fmla="*/ 193602 w 620661"/>
                <a:gd name="connsiteY6" fmla="*/ 160984 h 345167"/>
                <a:gd name="connsiteX7" fmla="*/ 221557 w 620661"/>
                <a:gd name="connsiteY7" fmla="*/ 177967 h 345167"/>
                <a:gd name="connsiteX8" fmla="*/ 297812 w 620661"/>
                <a:gd name="connsiteY8" fmla="*/ 224340 h 345167"/>
                <a:gd name="connsiteX9" fmla="*/ 524860 w 620661"/>
                <a:gd name="connsiteY9" fmla="*/ 320348 h 345167"/>
                <a:gd name="connsiteX10" fmla="*/ 620617 w 620661"/>
                <a:gd name="connsiteY10" fmla="*/ 344995 h 345167"/>
                <a:gd name="connsiteX11" fmla="*/ 620661 w 620661"/>
                <a:gd name="connsiteY11" fmla="*/ 345167 h 345167"/>
                <a:gd name="connsiteX12" fmla="*/ 524254 w 620661"/>
                <a:gd name="connsiteY12" fmla="*/ 320369 h 345167"/>
                <a:gd name="connsiteX13" fmla="*/ 5227 w 620661"/>
                <a:gd name="connsiteY13" fmla="*/ 6185 h 345167"/>
                <a:gd name="connsiteX14" fmla="*/ 0 w 620661"/>
                <a:gd name="connsiteY14" fmla="*/ 433 h 345167"/>
                <a:gd name="connsiteX15" fmla="*/ 395 w 620661"/>
                <a:gd name="connsiteY15" fmla="*/ 0 h 345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0661" h="345167">
                  <a:moveTo>
                    <a:pt x="395" y="0"/>
                  </a:moveTo>
                  <a:lnTo>
                    <a:pt x="6114" y="6293"/>
                  </a:lnTo>
                  <a:cubicBezTo>
                    <a:pt x="34771" y="34949"/>
                    <a:pt x="64794" y="62239"/>
                    <a:pt x="96077" y="88056"/>
                  </a:cubicBezTo>
                  <a:lnTo>
                    <a:pt x="178872" y="149969"/>
                  </a:lnTo>
                  <a:lnTo>
                    <a:pt x="193400" y="160844"/>
                  </a:lnTo>
                  <a:lnTo>
                    <a:pt x="193479" y="160892"/>
                  </a:lnTo>
                  <a:lnTo>
                    <a:pt x="193602" y="160984"/>
                  </a:lnTo>
                  <a:lnTo>
                    <a:pt x="221557" y="177967"/>
                  </a:lnTo>
                  <a:lnTo>
                    <a:pt x="297812" y="224340"/>
                  </a:lnTo>
                  <a:cubicBezTo>
                    <a:pt x="369587" y="263370"/>
                    <a:pt x="445552" y="295656"/>
                    <a:pt x="524860" y="320348"/>
                  </a:cubicBezTo>
                  <a:lnTo>
                    <a:pt x="620617" y="344995"/>
                  </a:lnTo>
                  <a:lnTo>
                    <a:pt x="620661" y="345167"/>
                  </a:lnTo>
                  <a:lnTo>
                    <a:pt x="524254" y="320369"/>
                  </a:lnTo>
                  <a:cubicBezTo>
                    <a:pt x="325929" y="258661"/>
                    <a:pt x="148498" y="149510"/>
                    <a:pt x="5227" y="6185"/>
                  </a:cubicBezTo>
                  <a:lnTo>
                    <a:pt x="0" y="433"/>
                  </a:lnTo>
                  <a:lnTo>
                    <a:pt x="395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C3E45D9B-6562-4692-9B03-A61106FC0145}"/>
                </a:ext>
              </a:extLst>
            </p:cNvPr>
            <p:cNvSpPr/>
            <p:nvPr/>
          </p:nvSpPr>
          <p:spPr>
            <a:xfrm>
              <a:off x="3805036" y="3562914"/>
              <a:ext cx="176380" cy="148058"/>
            </a:xfrm>
            <a:custGeom>
              <a:avLst/>
              <a:gdLst>
                <a:gd name="connsiteX0" fmla="*/ 176336 w 176380"/>
                <a:gd name="connsiteY0" fmla="*/ 0 h 148058"/>
                <a:gd name="connsiteX1" fmla="*/ 176380 w 176380"/>
                <a:gd name="connsiteY1" fmla="*/ 49 h 148058"/>
                <a:gd name="connsiteX2" fmla="*/ 171774 w 176380"/>
                <a:gd name="connsiteY2" fmla="*/ 5117 h 148058"/>
                <a:gd name="connsiteX3" fmla="*/ 81811 w 176380"/>
                <a:gd name="connsiteY3" fmla="*/ 86880 h 148058"/>
                <a:gd name="connsiteX4" fmla="*/ 0 w 176380"/>
                <a:gd name="connsiteY4" fmla="*/ 148058 h 148058"/>
                <a:gd name="connsiteX5" fmla="*/ 81979 w 176380"/>
                <a:gd name="connsiteY5" fmla="*/ 86692 h 148058"/>
                <a:gd name="connsiteX6" fmla="*/ 171909 w 176380"/>
                <a:gd name="connsiteY6" fmla="*/ 4876 h 148058"/>
                <a:gd name="connsiteX7" fmla="*/ 176336 w 176380"/>
                <a:gd name="connsiteY7" fmla="*/ 0 h 14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80" h="148058">
                  <a:moveTo>
                    <a:pt x="176336" y="0"/>
                  </a:moveTo>
                  <a:lnTo>
                    <a:pt x="176380" y="49"/>
                  </a:lnTo>
                  <a:lnTo>
                    <a:pt x="171774" y="5117"/>
                  </a:lnTo>
                  <a:cubicBezTo>
                    <a:pt x="143117" y="33773"/>
                    <a:pt x="113094" y="61063"/>
                    <a:pt x="81811" y="86880"/>
                  </a:cubicBezTo>
                  <a:lnTo>
                    <a:pt x="0" y="148058"/>
                  </a:lnTo>
                  <a:lnTo>
                    <a:pt x="81979" y="86692"/>
                  </a:lnTo>
                  <a:cubicBezTo>
                    <a:pt x="113251" y="60859"/>
                    <a:pt x="143263" y="33551"/>
                    <a:pt x="171909" y="4876"/>
                  </a:cubicBezTo>
                  <a:lnTo>
                    <a:pt x="176336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249A6F16-EDC0-ADE4-2150-A8A8E8D7E3B0}"/>
                </a:ext>
              </a:extLst>
            </p:cNvPr>
            <p:cNvSpPr/>
            <p:nvPr/>
          </p:nvSpPr>
          <p:spPr>
            <a:xfrm>
              <a:off x="3789442" y="3710972"/>
              <a:ext cx="15595" cy="11662"/>
            </a:xfrm>
            <a:custGeom>
              <a:avLst/>
              <a:gdLst>
                <a:gd name="connsiteX0" fmla="*/ 15595 w 15595"/>
                <a:gd name="connsiteY0" fmla="*/ 0 h 11662"/>
                <a:gd name="connsiteX1" fmla="*/ 84 w 15595"/>
                <a:gd name="connsiteY1" fmla="*/ 11610 h 11662"/>
                <a:gd name="connsiteX2" fmla="*/ 0 w 15595"/>
                <a:gd name="connsiteY2" fmla="*/ 11662 h 11662"/>
                <a:gd name="connsiteX3" fmla="*/ 15595 w 15595"/>
                <a:gd name="connsiteY3" fmla="*/ 0 h 1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95" h="11662">
                  <a:moveTo>
                    <a:pt x="15595" y="0"/>
                  </a:moveTo>
                  <a:lnTo>
                    <a:pt x="84" y="11610"/>
                  </a:lnTo>
                  <a:lnTo>
                    <a:pt x="0" y="11662"/>
                  </a:lnTo>
                  <a:lnTo>
                    <a:pt x="15595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4CEE46CA-4B89-D31B-1C06-CCDC06795319}"/>
                </a:ext>
              </a:extLst>
            </p:cNvPr>
            <p:cNvSpPr/>
            <p:nvPr/>
          </p:nvSpPr>
          <p:spPr>
            <a:xfrm>
              <a:off x="3762099" y="3722635"/>
              <a:ext cx="27343" cy="16627"/>
            </a:xfrm>
            <a:custGeom>
              <a:avLst/>
              <a:gdLst>
                <a:gd name="connsiteX0" fmla="*/ 27343 w 27343"/>
                <a:gd name="connsiteY0" fmla="*/ 0 h 16627"/>
                <a:gd name="connsiteX1" fmla="*/ 27224 w 27343"/>
                <a:gd name="connsiteY1" fmla="*/ 88 h 16627"/>
                <a:gd name="connsiteX2" fmla="*/ 0 w 27343"/>
                <a:gd name="connsiteY2" fmla="*/ 16627 h 16627"/>
                <a:gd name="connsiteX3" fmla="*/ 27343 w 27343"/>
                <a:gd name="connsiteY3" fmla="*/ 0 h 16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43" h="16627">
                  <a:moveTo>
                    <a:pt x="27343" y="0"/>
                  </a:moveTo>
                  <a:lnTo>
                    <a:pt x="27224" y="88"/>
                  </a:lnTo>
                  <a:lnTo>
                    <a:pt x="0" y="16627"/>
                  </a:lnTo>
                  <a:lnTo>
                    <a:pt x="27343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21CB7214-D42F-F8AE-9633-D859DC45D787}"/>
                </a:ext>
              </a:extLst>
            </p:cNvPr>
            <p:cNvSpPr/>
            <p:nvPr/>
          </p:nvSpPr>
          <p:spPr>
            <a:xfrm>
              <a:off x="3362308" y="3739262"/>
              <a:ext cx="399790" cy="167471"/>
            </a:xfrm>
            <a:custGeom>
              <a:avLst/>
              <a:gdLst>
                <a:gd name="connsiteX0" fmla="*/ 399790 w 399790"/>
                <a:gd name="connsiteY0" fmla="*/ 0 h 167471"/>
                <a:gd name="connsiteX1" fmla="*/ 322804 w 399790"/>
                <a:gd name="connsiteY1" fmla="*/ 46817 h 167471"/>
                <a:gd name="connsiteX2" fmla="*/ 95756 w 399790"/>
                <a:gd name="connsiteY2" fmla="*/ 142825 h 167471"/>
                <a:gd name="connsiteX3" fmla="*/ 0 w 399790"/>
                <a:gd name="connsiteY3" fmla="*/ 167471 h 167471"/>
                <a:gd name="connsiteX4" fmla="*/ 20 w 399790"/>
                <a:gd name="connsiteY4" fmla="*/ 167395 h 167471"/>
                <a:gd name="connsiteX5" fmla="*/ 95434 w 399790"/>
                <a:gd name="connsiteY5" fmla="*/ 142862 h 167471"/>
                <a:gd name="connsiteX6" fmla="*/ 322564 w 399790"/>
                <a:gd name="connsiteY6" fmla="*/ 46916 h 167471"/>
                <a:gd name="connsiteX7" fmla="*/ 399790 w 399790"/>
                <a:gd name="connsiteY7" fmla="*/ 0 h 167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790" h="167471">
                  <a:moveTo>
                    <a:pt x="399790" y="0"/>
                  </a:moveTo>
                  <a:lnTo>
                    <a:pt x="322804" y="46817"/>
                  </a:lnTo>
                  <a:cubicBezTo>
                    <a:pt x="251030" y="85847"/>
                    <a:pt x="175064" y="118133"/>
                    <a:pt x="95756" y="142825"/>
                  </a:cubicBezTo>
                  <a:lnTo>
                    <a:pt x="0" y="167471"/>
                  </a:lnTo>
                  <a:lnTo>
                    <a:pt x="20" y="167395"/>
                  </a:lnTo>
                  <a:lnTo>
                    <a:pt x="95434" y="142862"/>
                  </a:lnTo>
                  <a:cubicBezTo>
                    <a:pt x="174770" y="118186"/>
                    <a:pt x="250763" y="85921"/>
                    <a:pt x="322564" y="46916"/>
                  </a:cubicBezTo>
                  <a:lnTo>
                    <a:pt x="39979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3A2E711F-31EC-A277-6106-DFA699743C84}"/>
                </a:ext>
              </a:extLst>
            </p:cNvPr>
            <p:cNvSpPr/>
            <p:nvPr/>
          </p:nvSpPr>
          <p:spPr>
            <a:xfrm>
              <a:off x="3362374" y="3906337"/>
              <a:ext cx="184" cy="143"/>
            </a:xfrm>
            <a:custGeom>
              <a:avLst/>
              <a:gdLst>
                <a:gd name="connsiteX0" fmla="*/ 184 w 184"/>
                <a:gd name="connsiteY0" fmla="*/ 0 h 143"/>
                <a:gd name="connsiteX1" fmla="*/ 158 w 184"/>
                <a:gd name="connsiteY1" fmla="*/ 102 h 143"/>
                <a:gd name="connsiteX2" fmla="*/ 0 w 184"/>
                <a:gd name="connsiteY2" fmla="*/ 143 h 143"/>
                <a:gd name="connsiteX3" fmla="*/ 26 w 184"/>
                <a:gd name="connsiteY3" fmla="*/ 41 h 143"/>
                <a:gd name="connsiteX4" fmla="*/ 184 w 184"/>
                <a:gd name="connsiteY4" fmla="*/ 0 h 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" h="143">
                  <a:moveTo>
                    <a:pt x="184" y="0"/>
                  </a:moveTo>
                  <a:lnTo>
                    <a:pt x="158" y="102"/>
                  </a:lnTo>
                  <a:lnTo>
                    <a:pt x="0" y="143"/>
                  </a:lnTo>
                  <a:lnTo>
                    <a:pt x="26" y="41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8519059D-BA0A-F05D-D7D4-4774889057C2}"/>
                </a:ext>
              </a:extLst>
            </p:cNvPr>
            <p:cNvSpPr/>
            <p:nvPr/>
          </p:nvSpPr>
          <p:spPr>
            <a:xfrm>
              <a:off x="3080786" y="3906416"/>
              <a:ext cx="281465" cy="32639"/>
            </a:xfrm>
            <a:custGeom>
              <a:avLst/>
              <a:gdLst>
                <a:gd name="connsiteX0" fmla="*/ 281465 w 281465"/>
                <a:gd name="connsiteY0" fmla="*/ 0 h 32639"/>
                <a:gd name="connsiteX1" fmla="*/ 281439 w 281465"/>
                <a:gd name="connsiteY1" fmla="*/ 102 h 32639"/>
                <a:gd name="connsiteX2" fmla="*/ 254999 w 281465"/>
                <a:gd name="connsiteY2" fmla="*/ 6907 h 32639"/>
                <a:gd name="connsiteX3" fmla="*/ 129260 w 281465"/>
                <a:gd name="connsiteY3" fmla="*/ 26117 h 32639"/>
                <a:gd name="connsiteX4" fmla="*/ 240 w 281465"/>
                <a:gd name="connsiteY4" fmla="*/ 32639 h 32639"/>
                <a:gd name="connsiteX5" fmla="*/ 0 w 281465"/>
                <a:gd name="connsiteY5" fmla="*/ 32627 h 32639"/>
                <a:gd name="connsiteX6" fmla="*/ 128797 w 281465"/>
                <a:gd name="connsiteY6" fmla="*/ 26121 h 32639"/>
                <a:gd name="connsiteX7" fmla="*/ 254571 w 281465"/>
                <a:gd name="connsiteY7" fmla="*/ 6918 h 32639"/>
                <a:gd name="connsiteX8" fmla="*/ 281465 w 281465"/>
                <a:gd name="connsiteY8" fmla="*/ 0 h 3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465" h="32639">
                  <a:moveTo>
                    <a:pt x="281465" y="0"/>
                  </a:moveTo>
                  <a:lnTo>
                    <a:pt x="281439" y="102"/>
                  </a:lnTo>
                  <a:lnTo>
                    <a:pt x="254999" y="6907"/>
                  </a:lnTo>
                  <a:cubicBezTo>
                    <a:pt x="213780" y="15351"/>
                    <a:pt x="171832" y="21789"/>
                    <a:pt x="129260" y="26117"/>
                  </a:cubicBezTo>
                  <a:lnTo>
                    <a:pt x="240" y="32639"/>
                  </a:lnTo>
                  <a:lnTo>
                    <a:pt x="0" y="32627"/>
                  </a:lnTo>
                  <a:lnTo>
                    <a:pt x="128797" y="26121"/>
                  </a:lnTo>
                  <a:cubicBezTo>
                    <a:pt x="171381" y="21795"/>
                    <a:pt x="213341" y="15358"/>
                    <a:pt x="254571" y="6918"/>
                  </a:cubicBezTo>
                  <a:lnTo>
                    <a:pt x="281465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1D4A209A-80C7-EE94-F2E7-3F8DD2B84433}"/>
                </a:ext>
              </a:extLst>
            </p:cNvPr>
            <p:cNvSpPr/>
            <p:nvPr/>
          </p:nvSpPr>
          <p:spPr>
            <a:xfrm>
              <a:off x="3362178" y="3906479"/>
              <a:ext cx="196" cy="216"/>
            </a:xfrm>
            <a:custGeom>
              <a:avLst/>
              <a:gdLst>
                <a:gd name="connsiteX0" fmla="*/ 196 w 196"/>
                <a:gd name="connsiteY0" fmla="*/ 0 h 216"/>
                <a:gd name="connsiteX1" fmla="*/ 150 w 196"/>
                <a:gd name="connsiteY1" fmla="*/ 177 h 216"/>
                <a:gd name="connsiteX2" fmla="*/ 0 w 196"/>
                <a:gd name="connsiteY2" fmla="*/ 216 h 216"/>
                <a:gd name="connsiteX3" fmla="*/ 46 w 196"/>
                <a:gd name="connsiteY3" fmla="*/ 38 h 216"/>
                <a:gd name="connsiteX4" fmla="*/ 196 w 196"/>
                <a:gd name="connsiteY4" fmla="*/ 0 h 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" h="216">
                  <a:moveTo>
                    <a:pt x="196" y="0"/>
                  </a:moveTo>
                  <a:lnTo>
                    <a:pt x="150" y="177"/>
                  </a:lnTo>
                  <a:lnTo>
                    <a:pt x="0" y="216"/>
                  </a:lnTo>
                  <a:lnTo>
                    <a:pt x="46" y="38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391FD6EE-4DB1-4380-3922-745FA2689459}"/>
                </a:ext>
              </a:extLst>
            </p:cNvPr>
            <p:cNvSpPr/>
            <p:nvPr/>
          </p:nvSpPr>
          <p:spPr>
            <a:xfrm>
              <a:off x="2799829" y="3906519"/>
              <a:ext cx="280957" cy="32535"/>
            </a:xfrm>
            <a:custGeom>
              <a:avLst/>
              <a:gdLst>
                <a:gd name="connsiteX0" fmla="*/ 0 w 280957"/>
                <a:gd name="connsiteY0" fmla="*/ 0 h 32535"/>
                <a:gd name="connsiteX1" fmla="*/ 26438 w 280957"/>
                <a:gd name="connsiteY1" fmla="*/ 6804 h 32535"/>
                <a:gd name="connsiteX2" fmla="*/ 152177 w 280957"/>
                <a:gd name="connsiteY2" fmla="*/ 26014 h 32535"/>
                <a:gd name="connsiteX3" fmla="*/ 280957 w 280957"/>
                <a:gd name="connsiteY3" fmla="*/ 32524 h 32535"/>
                <a:gd name="connsiteX4" fmla="*/ 280727 w 280957"/>
                <a:gd name="connsiteY4" fmla="*/ 32535 h 32535"/>
                <a:gd name="connsiteX5" fmla="*/ 151671 w 280957"/>
                <a:gd name="connsiteY5" fmla="*/ 26018 h 32535"/>
                <a:gd name="connsiteX6" fmla="*/ 25886 w 280957"/>
                <a:gd name="connsiteY6" fmla="*/ 6821 h 32535"/>
                <a:gd name="connsiteX7" fmla="*/ 45 w 280957"/>
                <a:gd name="connsiteY7" fmla="*/ 177 h 32535"/>
                <a:gd name="connsiteX8" fmla="*/ 0 w 280957"/>
                <a:gd name="connsiteY8" fmla="*/ 0 h 3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957" h="32535">
                  <a:moveTo>
                    <a:pt x="0" y="0"/>
                  </a:moveTo>
                  <a:lnTo>
                    <a:pt x="26438" y="6804"/>
                  </a:lnTo>
                  <a:cubicBezTo>
                    <a:pt x="67657" y="15248"/>
                    <a:pt x="109606" y="21686"/>
                    <a:pt x="152177" y="26014"/>
                  </a:cubicBezTo>
                  <a:lnTo>
                    <a:pt x="280957" y="32524"/>
                  </a:lnTo>
                  <a:lnTo>
                    <a:pt x="280727" y="32535"/>
                  </a:lnTo>
                  <a:lnTo>
                    <a:pt x="151671" y="26018"/>
                  </a:lnTo>
                  <a:cubicBezTo>
                    <a:pt x="109084" y="21694"/>
                    <a:pt x="67120" y="15259"/>
                    <a:pt x="25886" y="6821"/>
                  </a:cubicBezTo>
                  <a:lnTo>
                    <a:pt x="45" y="1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7F749E66-FBC7-5E4F-7B2B-071CDA27DBB5}"/>
                </a:ext>
              </a:extLst>
            </p:cNvPr>
            <p:cNvSpPr/>
            <p:nvPr/>
          </p:nvSpPr>
          <p:spPr>
            <a:xfrm>
              <a:off x="2799723" y="3906657"/>
              <a:ext cx="170" cy="115"/>
            </a:xfrm>
            <a:custGeom>
              <a:avLst/>
              <a:gdLst>
                <a:gd name="connsiteX0" fmla="*/ 0 w 170"/>
                <a:gd name="connsiteY0" fmla="*/ 0 h 115"/>
                <a:gd name="connsiteX1" fmla="*/ 150 w 170"/>
                <a:gd name="connsiteY1" fmla="*/ 39 h 115"/>
                <a:gd name="connsiteX2" fmla="*/ 170 w 170"/>
                <a:gd name="connsiteY2" fmla="*/ 115 h 115"/>
                <a:gd name="connsiteX3" fmla="*/ 20 w 170"/>
                <a:gd name="connsiteY3" fmla="*/ 77 h 115"/>
                <a:gd name="connsiteX4" fmla="*/ 0 w 170"/>
                <a:gd name="connsiteY4" fmla="*/ 0 h 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" h="115">
                  <a:moveTo>
                    <a:pt x="0" y="0"/>
                  </a:moveTo>
                  <a:lnTo>
                    <a:pt x="150" y="39"/>
                  </a:lnTo>
                  <a:lnTo>
                    <a:pt x="170" y="115"/>
                  </a:lnTo>
                  <a:lnTo>
                    <a:pt x="20" y="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1625453D-2E34-1156-6C4D-F9177F0C7DCF}"/>
                </a:ext>
              </a:extLst>
            </p:cNvPr>
            <p:cNvSpPr/>
            <p:nvPr/>
          </p:nvSpPr>
          <p:spPr>
            <a:xfrm>
              <a:off x="3081256" y="3906695"/>
              <a:ext cx="280923" cy="32382"/>
            </a:xfrm>
            <a:custGeom>
              <a:avLst/>
              <a:gdLst>
                <a:gd name="connsiteX0" fmla="*/ 280923 w 280923"/>
                <a:gd name="connsiteY0" fmla="*/ 0 h 32382"/>
                <a:gd name="connsiteX1" fmla="*/ 280904 w 280923"/>
                <a:gd name="connsiteY1" fmla="*/ 76 h 32382"/>
                <a:gd name="connsiteX2" fmla="*/ 255447 w 280923"/>
                <a:gd name="connsiteY2" fmla="*/ 6628 h 32382"/>
                <a:gd name="connsiteX3" fmla="*/ 229 w 280923"/>
                <a:gd name="connsiteY3" fmla="*/ 32382 h 32382"/>
                <a:gd name="connsiteX4" fmla="*/ 0 w 280923"/>
                <a:gd name="connsiteY4" fmla="*/ 32371 h 32382"/>
                <a:gd name="connsiteX5" fmla="*/ 129296 w 280923"/>
                <a:gd name="connsiteY5" fmla="*/ 25841 h 32382"/>
                <a:gd name="connsiteX6" fmla="*/ 255081 w 280923"/>
                <a:gd name="connsiteY6" fmla="*/ 6644 h 32382"/>
                <a:gd name="connsiteX7" fmla="*/ 280923 w 280923"/>
                <a:gd name="connsiteY7" fmla="*/ 0 h 3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923" h="32382">
                  <a:moveTo>
                    <a:pt x="280923" y="0"/>
                  </a:moveTo>
                  <a:lnTo>
                    <a:pt x="280904" y="76"/>
                  </a:lnTo>
                  <a:lnTo>
                    <a:pt x="255447" y="6628"/>
                  </a:lnTo>
                  <a:cubicBezTo>
                    <a:pt x="173010" y="23514"/>
                    <a:pt x="87654" y="32382"/>
                    <a:pt x="229" y="32382"/>
                  </a:cubicBezTo>
                  <a:lnTo>
                    <a:pt x="0" y="32371"/>
                  </a:lnTo>
                  <a:lnTo>
                    <a:pt x="129296" y="25841"/>
                  </a:lnTo>
                  <a:cubicBezTo>
                    <a:pt x="171883" y="21517"/>
                    <a:pt x="213847" y="15082"/>
                    <a:pt x="255081" y="6644"/>
                  </a:cubicBezTo>
                  <a:lnTo>
                    <a:pt x="280923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61A19308-9E2A-EC9D-2909-BAF43860AE1C}"/>
                </a:ext>
              </a:extLst>
            </p:cNvPr>
            <p:cNvSpPr/>
            <p:nvPr/>
          </p:nvSpPr>
          <p:spPr>
            <a:xfrm>
              <a:off x="3081026" y="3906732"/>
              <a:ext cx="281282" cy="505170"/>
            </a:xfrm>
            <a:custGeom>
              <a:avLst/>
              <a:gdLst>
                <a:gd name="connsiteX0" fmla="*/ 281282 w 281282"/>
                <a:gd name="connsiteY0" fmla="*/ 0 h 505170"/>
                <a:gd name="connsiteX1" fmla="*/ 273209 w 281282"/>
                <a:gd name="connsiteY1" fmla="*/ 31393 h 505170"/>
                <a:gd name="connsiteX2" fmla="*/ 40965 w 281282"/>
                <a:gd name="connsiteY2" fmla="*/ 460276 h 505170"/>
                <a:gd name="connsiteX3" fmla="*/ 157 w 281282"/>
                <a:gd name="connsiteY3" fmla="*/ 505170 h 505170"/>
                <a:gd name="connsiteX4" fmla="*/ 0 w 281282"/>
                <a:gd name="connsiteY4" fmla="*/ 504997 h 505170"/>
                <a:gd name="connsiteX5" fmla="*/ 40860 w 281282"/>
                <a:gd name="connsiteY5" fmla="*/ 460038 h 505170"/>
                <a:gd name="connsiteX6" fmla="*/ 273189 w 281282"/>
                <a:gd name="connsiteY6" fmla="*/ 30933 h 505170"/>
                <a:gd name="connsiteX7" fmla="*/ 281133 w 281282"/>
                <a:gd name="connsiteY7" fmla="*/ 39 h 505170"/>
                <a:gd name="connsiteX8" fmla="*/ 281282 w 281282"/>
                <a:gd name="connsiteY8" fmla="*/ 0 h 50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282" h="505170">
                  <a:moveTo>
                    <a:pt x="281282" y="0"/>
                  </a:moveTo>
                  <a:lnTo>
                    <a:pt x="273209" y="31393"/>
                  </a:lnTo>
                  <a:cubicBezTo>
                    <a:pt x="223875" y="189984"/>
                    <a:pt x="144197" y="335208"/>
                    <a:pt x="40965" y="460276"/>
                  </a:cubicBezTo>
                  <a:lnTo>
                    <a:pt x="157" y="505170"/>
                  </a:lnTo>
                  <a:lnTo>
                    <a:pt x="0" y="504997"/>
                  </a:lnTo>
                  <a:lnTo>
                    <a:pt x="40860" y="460038"/>
                  </a:lnTo>
                  <a:cubicBezTo>
                    <a:pt x="144129" y="334905"/>
                    <a:pt x="223836" y="189606"/>
                    <a:pt x="273189" y="30933"/>
                  </a:cubicBezTo>
                  <a:lnTo>
                    <a:pt x="281133" y="39"/>
                  </a:lnTo>
                  <a:lnTo>
                    <a:pt x="281282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5FBB7940-9C34-D9C7-16FD-3BFC2BBCB4BD}"/>
                </a:ext>
              </a:extLst>
            </p:cNvPr>
            <p:cNvSpPr/>
            <p:nvPr/>
          </p:nvSpPr>
          <p:spPr>
            <a:xfrm>
              <a:off x="2799894" y="3906772"/>
              <a:ext cx="280433" cy="32307"/>
            </a:xfrm>
            <a:custGeom>
              <a:avLst/>
              <a:gdLst>
                <a:gd name="connsiteX0" fmla="*/ 0 w 280433"/>
                <a:gd name="connsiteY0" fmla="*/ 0 h 32307"/>
                <a:gd name="connsiteX1" fmla="*/ 25455 w 280433"/>
                <a:gd name="connsiteY1" fmla="*/ 6552 h 32307"/>
                <a:gd name="connsiteX2" fmla="*/ 151194 w 280433"/>
                <a:gd name="connsiteY2" fmla="*/ 25761 h 32307"/>
                <a:gd name="connsiteX3" fmla="*/ 280433 w 280433"/>
                <a:gd name="connsiteY3" fmla="*/ 32294 h 32307"/>
                <a:gd name="connsiteX4" fmla="*/ 280173 w 280433"/>
                <a:gd name="connsiteY4" fmla="*/ 32307 h 32307"/>
                <a:gd name="connsiteX5" fmla="*/ 24883 w 280433"/>
                <a:gd name="connsiteY5" fmla="*/ 6562 h 32307"/>
                <a:gd name="connsiteX6" fmla="*/ 44 w 280433"/>
                <a:gd name="connsiteY6" fmla="*/ 173 h 32307"/>
                <a:gd name="connsiteX7" fmla="*/ 0 w 280433"/>
                <a:gd name="connsiteY7" fmla="*/ 0 h 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433" h="32307">
                  <a:moveTo>
                    <a:pt x="0" y="0"/>
                  </a:moveTo>
                  <a:lnTo>
                    <a:pt x="25455" y="6552"/>
                  </a:lnTo>
                  <a:cubicBezTo>
                    <a:pt x="66674" y="14995"/>
                    <a:pt x="108622" y="21434"/>
                    <a:pt x="151194" y="25761"/>
                  </a:cubicBezTo>
                  <a:lnTo>
                    <a:pt x="280433" y="32294"/>
                  </a:lnTo>
                  <a:lnTo>
                    <a:pt x="280173" y="32307"/>
                  </a:lnTo>
                  <a:cubicBezTo>
                    <a:pt x="192724" y="32307"/>
                    <a:pt x="107344" y="23442"/>
                    <a:pt x="24883" y="6562"/>
                  </a:cubicBezTo>
                  <a:lnTo>
                    <a:pt x="44" y="1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2F062892-EFBC-348A-46E1-5377B4A37FAC}"/>
                </a:ext>
              </a:extLst>
            </p:cNvPr>
            <p:cNvSpPr/>
            <p:nvPr/>
          </p:nvSpPr>
          <p:spPr>
            <a:xfrm>
              <a:off x="2799788" y="3906906"/>
              <a:ext cx="281239" cy="504997"/>
            </a:xfrm>
            <a:custGeom>
              <a:avLst/>
              <a:gdLst>
                <a:gd name="connsiteX0" fmla="*/ 0 w 281239"/>
                <a:gd name="connsiteY0" fmla="*/ 0 h 504997"/>
                <a:gd name="connsiteX1" fmla="*/ 150 w 281239"/>
                <a:gd name="connsiteY1" fmla="*/ 39 h 504997"/>
                <a:gd name="connsiteX2" fmla="*/ 8049 w 281239"/>
                <a:gd name="connsiteY2" fmla="*/ 30760 h 504997"/>
                <a:gd name="connsiteX3" fmla="*/ 240378 w 281239"/>
                <a:gd name="connsiteY3" fmla="*/ 459865 h 504997"/>
                <a:gd name="connsiteX4" fmla="*/ 281239 w 281239"/>
                <a:gd name="connsiteY4" fmla="*/ 504824 h 504997"/>
                <a:gd name="connsiteX5" fmla="*/ 281081 w 281239"/>
                <a:gd name="connsiteY5" fmla="*/ 504997 h 504997"/>
                <a:gd name="connsiteX6" fmla="*/ 240273 w 281239"/>
                <a:gd name="connsiteY6" fmla="*/ 460103 h 504997"/>
                <a:gd name="connsiteX7" fmla="*/ 8029 w 281239"/>
                <a:gd name="connsiteY7" fmla="*/ 31220 h 504997"/>
                <a:gd name="connsiteX8" fmla="*/ 0 w 281239"/>
                <a:gd name="connsiteY8" fmla="*/ 0 h 50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239" h="504997">
                  <a:moveTo>
                    <a:pt x="0" y="0"/>
                  </a:moveTo>
                  <a:lnTo>
                    <a:pt x="150" y="39"/>
                  </a:lnTo>
                  <a:lnTo>
                    <a:pt x="8049" y="30760"/>
                  </a:lnTo>
                  <a:cubicBezTo>
                    <a:pt x="57402" y="189433"/>
                    <a:pt x="137109" y="334732"/>
                    <a:pt x="240378" y="459865"/>
                  </a:cubicBezTo>
                  <a:lnTo>
                    <a:pt x="281239" y="504824"/>
                  </a:lnTo>
                  <a:lnTo>
                    <a:pt x="281081" y="504997"/>
                  </a:lnTo>
                  <a:lnTo>
                    <a:pt x="240273" y="460103"/>
                  </a:lnTo>
                  <a:cubicBezTo>
                    <a:pt x="137042" y="335035"/>
                    <a:pt x="57363" y="189811"/>
                    <a:pt x="8029" y="3122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3AD114FD-0C52-F202-359F-F2F07FCA9DB5}"/>
                </a:ext>
              </a:extLst>
            </p:cNvPr>
            <p:cNvSpPr/>
            <p:nvPr/>
          </p:nvSpPr>
          <p:spPr>
            <a:xfrm>
              <a:off x="2144568" y="4411903"/>
              <a:ext cx="936459" cy="415877"/>
            </a:xfrm>
            <a:custGeom>
              <a:avLst/>
              <a:gdLst>
                <a:gd name="connsiteX0" fmla="*/ 936301 w 936459"/>
                <a:gd name="connsiteY0" fmla="*/ 0 h 415877"/>
                <a:gd name="connsiteX1" fmla="*/ 936459 w 936459"/>
                <a:gd name="connsiteY1" fmla="*/ 173 h 415877"/>
                <a:gd name="connsiteX2" fmla="*/ 895690 w 936459"/>
                <a:gd name="connsiteY2" fmla="*/ 45022 h 415877"/>
                <a:gd name="connsiteX3" fmla="*/ 230 w 936459"/>
                <a:gd name="connsiteY3" fmla="*/ 415877 h 415877"/>
                <a:gd name="connsiteX4" fmla="*/ 0 w 936459"/>
                <a:gd name="connsiteY4" fmla="*/ 415866 h 415877"/>
                <a:gd name="connsiteX5" fmla="*/ 129297 w 936459"/>
                <a:gd name="connsiteY5" fmla="*/ 409336 h 415877"/>
                <a:gd name="connsiteX6" fmla="*/ 895556 w 936459"/>
                <a:gd name="connsiteY6" fmla="*/ 44831 h 415877"/>
                <a:gd name="connsiteX7" fmla="*/ 936301 w 936459"/>
                <a:gd name="connsiteY7" fmla="*/ 0 h 415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6459" h="415877">
                  <a:moveTo>
                    <a:pt x="936301" y="0"/>
                  </a:moveTo>
                  <a:lnTo>
                    <a:pt x="936459" y="173"/>
                  </a:lnTo>
                  <a:lnTo>
                    <a:pt x="895690" y="45022"/>
                  </a:lnTo>
                  <a:cubicBezTo>
                    <a:pt x="666522" y="274155"/>
                    <a:pt x="349929" y="415877"/>
                    <a:pt x="230" y="415877"/>
                  </a:cubicBezTo>
                  <a:lnTo>
                    <a:pt x="0" y="415866"/>
                  </a:lnTo>
                  <a:lnTo>
                    <a:pt x="129297" y="409336"/>
                  </a:lnTo>
                  <a:cubicBezTo>
                    <a:pt x="427407" y="379062"/>
                    <a:pt x="694961" y="245426"/>
                    <a:pt x="895556" y="44831"/>
                  </a:cubicBezTo>
                  <a:lnTo>
                    <a:pt x="936301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658FE25D-B305-306F-F918-10862AE6313A}"/>
                </a:ext>
              </a:extLst>
            </p:cNvPr>
            <p:cNvSpPr/>
            <p:nvPr/>
          </p:nvSpPr>
          <p:spPr>
            <a:xfrm>
              <a:off x="3081026" y="4411903"/>
              <a:ext cx="936458" cy="415877"/>
            </a:xfrm>
            <a:custGeom>
              <a:avLst/>
              <a:gdLst>
                <a:gd name="connsiteX0" fmla="*/ 157 w 936458"/>
                <a:gd name="connsiteY0" fmla="*/ 0 h 415877"/>
                <a:gd name="connsiteX1" fmla="*/ 40902 w 936458"/>
                <a:gd name="connsiteY1" fmla="*/ 44831 h 415877"/>
                <a:gd name="connsiteX2" fmla="*/ 807161 w 936458"/>
                <a:gd name="connsiteY2" fmla="*/ 409336 h 415877"/>
                <a:gd name="connsiteX3" fmla="*/ 936458 w 936458"/>
                <a:gd name="connsiteY3" fmla="*/ 415866 h 415877"/>
                <a:gd name="connsiteX4" fmla="*/ 936229 w 936458"/>
                <a:gd name="connsiteY4" fmla="*/ 415877 h 415877"/>
                <a:gd name="connsiteX5" fmla="*/ 40768 w 936458"/>
                <a:gd name="connsiteY5" fmla="*/ 45022 h 415877"/>
                <a:gd name="connsiteX6" fmla="*/ 0 w 936458"/>
                <a:gd name="connsiteY6" fmla="*/ 173 h 415877"/>
                <a:gd name="connsiteX7" fmla="*/ 157 w 936458"/>
                <a:gd name="connsiteY7" fmla="*/ 0 h 415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6458" h="415877">
                  <a:moveTo>
                    <a:pt x="157" y="0"/>
                  </a:moveTo>
                  <a:lnTo>
                    <a:pt x="40902" y="44831"/>
                  </a:lnTo>
                  <a:cubicBezTo>
                    <a:pt x="241497" y="245426"/>
                    <a:pt x="509051" y="379062"/>
                    <a:pt x="807161" y="409336"/>
                  </a:cubicBezTo>
                  <a:lnTo>
                    <a:pt x="936458" y="415866"/>
                  </a:lnTo>
                  <a:lnTo>
                    <a:pt x="936229" y="415877"/>
                  </a:lnTo>
                  <a:cubicBezTo>
                    <a:pt x="586530" y="415877"/>
                    <a:pt x="269937" y="274155"/>
                    <a:pt x="40768" y="45022"/>
                  </a:cubicBezTo>
                  <a:lnTo>
                    <a:pt x="0" y="173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34FBF5C0-D4BB-1833-A4B2-C313C0F84DA8}"/>
                </a:ext>
              </a:extLst>
            </p:cNvPr>
            <p:cNvSpPr/>
            <p:nvPr/>
          </p:nvSpPr>
          <p:spPr>
            <a:xfrm>
              <a:off x="4017485" y="4795655"/>
              <a:ext cx="279891" cy="32125"/>
            </a:xfrm>
            <a:custGeom>
              <a:avLst/>
              <a:gdLst>
                <a:gd name="connsiteX0" fmla="*/ 279891 w 279891"/>
                <a:gd name="connsiteY0" fmla="*/ 0 h 32125"/>
                <a:gd name="connsiteX1" fmla="*/ 279856 w 279891"/>
                <a:gd name="connsiteY1" fmla="*/ 135 h 32125"/>
                <a:gd name="connsiteX2" fmla="*/ 255540 w 279891"/>
                <a:gd name="connsiteY2" fmla="*/ 6387 h 32125"/>
                <a:gd name="connsiteX3" fmla="*/ 229 w 279891"/>
                <a:gd name="connsiteY3" fmla="*/ 32125 h 32125"/>
                <a:gd name="connsiteX4" fmla="*/ 0 w 279891"/>
                <a:gd name="connsiteY4" fmla="*/ 32114 h 32125"/>
                <a:gd name="connsiteX5" fmla="*/ 129250 w 279891"/>
                <a:gd name="connsiteY5" fmla="*/ 25588 h 32125"/>
                <a:gd name="connsiteX6" fmla="*/ 254989 w 279891"/>
                <a:gd name="connsiteY6" fmla="*/ 6400 h 32125"/>
                <a:gd name="connsiteX7" fmla="*/ 279891 w 279891"/>
                <a:gd name="connsiteY7" fmla="*/ 0 h 3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9891" h="32125">
                  <a:moveTo>
                    <a:pt x="279891" y="0"/>
                  </a:moveTo>
                  <a:lnTo>
                    <a:pt x="279856" y="135"/>
                  </a:lnTo>
                  <a:lnTo>
                    <a:pt x="255540" y="6387"/>
                  </a:lnTo>
                  <a:cubicBezTo>
                    <a:pt x="173072" y="23263"/>
                    <a:pt x="87686" y="32125"/>
                    <a:pt x="229" y="32125"/>
                  </a:cubicBezTo>
                  <a:lnTo>
                    <a:pt x="0" y="32114"/>
                  </a:lnTo>
                  <a:lnTo>
                    <a:pt x="129250" y="25588"/>
                  </a:lnTo>
                  <a:cubicBezTo>
                    <a:pt x="171822" y="21265"/>
                    <a:pt x="213770" y="14834"/>
                    <a:pt x="254989" y="6400"/>
                  </a:cubicBezTo>
                  <a:lnTo>
                    <a:pt x="279891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3DB40DDE-6E02-86FE-7479-30705BE2A192}"/>
                </a:ext>
              </a:extLst>
            </p:cNvPr>
            <p:cNvSpPr/>
            <p:nvPr/>
          </p:nvSpPr>
          <p:spPr>
            <a:xfrm>
              <a:off x="1863185" y="1405415"/>
              <a:ext cx="2435680" cy="1304752"/>
            </a:xfrm>
            <a:custGeom>
              <a:avLst/>
              <a:gdLst>
                <a:gd name="connsiteX0" fmla="*/ 1217840 w 2435680"/>
                <a:gd name="connsiteY0" fmla="*/ 0 h 1304752"/>
                <a:gd name="connsiteX1" fmla="*/ 2427717 w 2435680"/>
                <a:gd name="connsiteY1" fmla="*/ 890114 h 1304752"/>
                <a:gd name="connsiteX2" fmla="*/ 2435680 w 2435680"/>
                <a:gd name="connsiteY2" fmla="*/ 921084 h 1304752"/>
                <a:gd name="connsiteX3" fmla="*/ 2409839 w 2435680"/>
                <a:gd name="connsiteY3" fmla="*/ 914440 h 1304752"/>
                <a:gd name="connsiteX4" fmla="*/ 2154528 w 2435680"/>
                <a:gd name="connsiteY4" fmla="*/ 888702 h 1304752"/>
                <a:gd name="connsiteX5" fmla="*/ 2154299 w 2435680"/>
                <a:gd name="connsiteY5" fmla="*/ 888713 h 1304752"/>
                <a:gd name="connsiteX6" fmla="*/ 2154070 w 2435680"/>
                <a:gd name="connsiteY6" fmla="*/ 888702 h 1304752"/>
                <a:gd name="connsiteX7" fmla="*/ 1550442 w 2435680"/>
                <a:gd name="connsiteY7" fmla="*/ 1041701 h 1304752"/>
                <a:gd name="connsiteX8" fmla="*/ 1475634 w 2435680"/>
                <a:gd name="connsiteY8" fmla="*/ 1087194 h 1304752"/>
                <a:gd name="connsiteX9" fmla="*/ 1446231 w 2435680"/>
                <a:gd name="connsiteY9" fmla="*/ 1105057 h 1304752"/>
                <a:gd name="connsiteX10" fmla="*/ 1446101 w 2435680"/>
                <a:gd name="connsiteY10" fmla="*/ 1105154 h 1304752"/>
                <a:gd name="connsiteX11" fmla="*/ 1446029 w 2435680"/>
                <a:gd name="connsiteY11" fmla="*/ 1105198 h 1304752"/>
                <a:gd name="connsiteX12" fmla="*/ 1432635 w 2435680"/>
                <a:gd name="connsiteY12" fmla="*/ 1115224 h 1304752"/>
                <a:gd name="connsiteX13" fmla="*/ 1348706 w 2435680"/>
                <a:gd name="connsiteY13" fmla="*/ 1177985 h 1304752"/>
                <a:gd name="connsiteX14" fmla="*/ 1258743 w 2435680"/>
                <a:gd name="connsiteY14" fmla="*/ 1259748 h 1304752"/>
                <a:gd name="connsiteX15" fmla="*/ 1217841 w 2435680"/>
                <a:gd name="connsiteY15" fmla="*/ 1304752 h 1304752"/>
                <a:gd name="connsiteX16" fmla="*/ 1176938 w 2435680"/>
                <a:gd name="connsiteY16" fmla="*/ 1259748 h 1304752"/>
                <a:gd name="connsiteX17" fmla="*/ 1086975 w 2435680"/>
                <a:gd name="connsiteY17" fmla="*/ 1177985 h 1304752"/>
                <a:gd name="connsiteX18" fmla="*/ 1003898 w 2435680"/>
                <a:gd name="connsiteY18" fmla="*/ 1115861 h 1304752"/>
                <a:gd name="connsiteX19" fmla="*/ 989653 w 2435680"/>
                <a:gd name="connsiteY19" fmla="*/ 1105198 h 1304752"/>
                <a:gd name="connsiteX20" fmla="*/ 989576 w 2435680"/>
                <a:gd name="connsiteY20" fmla="*/ 1105151 h 1304752"/>
                <a:gd name="connsiteX21" fmla="*/ 989450 w 2435680"/>
                <a:gd name="connsiteY21" fmla="*/ 1105057 h 1304752"/>
                <a:gd name="connsiteX22" fmla="*/ 961032 w 2435680"/>
                <a:gd name="connsiteY22" fmla="*/ 1087792 h 1304752"/>
                <a:gd name="connsiteX23" fmla="*/ 885240 w 2435680"/>
                <a:gd name="connsiteY23" fmla="*/ 1041701 h 1304752"/>
                <a:gd name="connsiteX24" fmla="*/ 281612 w 2435680"/>
                <a:gd name="connsiteY24" fmla="*/ 888702 h 1304752"/>
                <a:gd name="connsiteX25" fmla="*/ 281382 w 2435680"/>
                <a:gd name="connsiteY25" fmla="*/ 888713 h 1304752"/>
                <a:gd name="connsiteX26" fmla="*/ 281153 w 2435680"/>
                <a:gd name="connsiteY26" fmla="*/ 888702 h 1304752"/>
                <a:gd name="connsiteX27" fmla="*/ 25842 w 2435680"/>
                <a:gd name="connsiteY27" fmla="*/ 914440 h 1304752"/>
                <a:gd name="connsiteX28" fmla="*/ 0 w 2435680"/>
                <a:gd name="connsiteY28" fmla="*/ 921084 h 1304752"/>
                <a:gd name="connsiteX29" fmla="*/ 7963 w 2435680"/>
                <a:gd name="connsiteY29" fmla="*/ 890114 h 1304752"/>
                <a:gd name="connsiteX30" fmla="*/ 1217840 w 2435680"/>
                <a:gd name="connsiteY30" fmla="*/ 0 h 130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5680" h="1304752">
                  <a:moveTo>
                    <a:pt x="1217840" y="0"/>
                  </a:moveTo>
                  <a:cubicBezTo>
                    <a:pt x="1786307" y="0"/>
                    <a:pt x="2267322" y="374427"/>
                    <a:pt x="2427717" y="890114"/>
                  </a:cubicBezTo>
                  <a:lnTo>
                    <a:pt x="2435680" y="921084"/>
                  </a:lnTo>
                  <a:lnTo>
                    <a:pt x="2409839" y="914440"/>
                  </a:lnTo>
                  <a:cubicBezTo>
                    <a:pt x="2327371" y="897564"/>
                    <a:pt x="2241985" y="888702"/>
                    <a:pt x="2154528" y="888702"/>
                  </a:cubicBezTo>
                  <a:lnTo>
                    <a:pt x="2154299" y="888713"/>
                  </a:lnTo>
                  <a:lnTo>
                    <a:pt x="2154070" y="888702"/>
                  </a:lnTo>
                  <a:cubicBezTo>
                    <a:pt x="1935508" y="888702"/>
                    <a:pt x="1729878" y="944127"/>
                    <a:pt x="1550442" y="1041701"/>
                  </a:cubicBezTo>
                  <a:lnTo>
                    <a:pt x="1475634" y="1087194"/>
                  </a:lnTo>
                  <a:lnTo>
                    <a:pt x="1446231" y="1105057"/>
                  </a:lnTo>
                  <a:lnTo>
                    <a:pt x="1446101" y="1105154"/>
                  </a:lnTo>
                  <a:lnTo>
                    <a:pt x="1446029" y="1105198"/>
                  </a:lnTo>
                  <a:lnTo>
                    <a:pt x="1432635" y="1115224"/>
                  </a:lnTo>
                  <a:lnTo>
                    <a:pt x="1348706" y="1177985"/>
                  </a:lnTo>
                  <a:cubicBezTo>
                    <a:pt x="1317423" y="1203802"/>
                    <a:pt x="1287400" y="1231092"/>
                    <a:pt x="1258743" y="1259748"/>
                  </a:cubicBezTo>
                  <a:lnTo>
                    <a:pt x="1217841" y="1304752"/>
                  </a:lnTo>
                  <a:lnTo>
                    <a:pt x="1176938" y="1259748"/>
                  </a:lnTo>
                  <a:cubicBezTo>
                    <a:pt x="1148281" y="1231092"/>
                    <a:pt x="1118258" y="1203802"/>
                    <a:pt x="1086975" y="1177985"/>
                  </a:cubicBezTo>
                  <a:lnTo>
                    <a:pt x="1003898" y="1115861"/>
                  </a:lnTo>
                  <a:lnTo>
                    <a:pt x="989653" y="1105198"/>
                  </a:lnTo>
                  <a:lnTo>
                    <a:pt x="989576" y="1105151"/>
                  </a:lnTo>
                  <a:lnTo>
                    <a:pt x="989450" y="1105057"/>
                  </a:lnTo>
                  <a:lnTo>
                    <a:pt x="961032" y="1087792"/>
                  </a:lnTo>
                  <a:lnTo>
                    <a:pt x="885240" y="1041701"/>
                  </a:lnTo>
                  <a:cubicBezTo>
                    <a:pt x="705804" y="944127"/>
                    <a:pt x="500174" y="888702"/>
                    <a:pt x="281612" y="888702"/>
                  </a:cubicBezTo>
                  <a:lnTo>
                    <a:pt x="281382" y="888713"/>
                  </a:lnTo>
                  <a:lnTo>
                    <a:pt x="281153" y="888702"/>
                  </a:lnTo>
                  <a:cubicBezTo>
                    <a:pt x="193696" y="888702"/>
                    <a:pt x="108310" y="897564"/>
                    <a:pt x="25842" y="914440"/>
                  </a:cubicBezTo>
                  <a:lnTo>
                    <a:pt x="0" y="921084"/>
                  </a:lnTo>
                  <a:lnTo>
                    <a:pt x="7963" y="890114"/>
                  </a:lnTo>
                  <a:cubicBezTo>
                    <a:pt x="168359" y="374427"/>
                    <a:pt x="649374" y="0"/>
                    <a:pt x="1217840" y="0"/>
                  </a:cubicBezTo>
                  <a:close/>
                </a:path>
              </a:pathLst>
            </a:custGeom>
            <a:solidFill>
              <a:srgbClr val="2DB5F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959E8C3-A48B-14D0-7DB1-DCDAACCF5596}"/>
                </a:ext>
              </a:extLst>
            </p:cNvPr>
            <p:cNvSpPr/>
            <p:nvPr/>
          </p:nvSpPr>
          <p:spPr>
            <a:xfrm>
              <a:off x="3081090" y="2294128"/>
              <a:ext cx="1266747" cy="1267560"/>
            </a:xfrm>
            <a:custGeom>
              <a:avLst/>
              <a:gdLst>
                <a:gd name="connsiteX0" fmla="*/ 936395 w 1266747"/>
                <a:gd name="connsiteY0" fmla="*/ 0 h 1267560"/>
                <a:gd name="connsiteX1" fmla="*/ 1065645 w 1266747"/>
                <a:gd name="connsiteY1" fmla="*/ 6534 h 1267560"/>
                <a:gd name="connsiteX2" fmla="*/ 1191384 w 1266747"/>
                <a:gd name="connsiteY2" fmla="*/ 25744 h 1267560"/>
                <a:gd name="connsiteX3" fmla="*/ 1217822 w 1266747"/>
                <a:gd name="connsiteY3" fmla="*/ 32547 h 1267560"/>
                <a:gd name="connsiteX4" fmla="*/ 1241029 w 1266747"/>
                <a:gd name="connsiteY4" fmla="*/ 122807 h 1267560"/>
                <a:gd name="connsiteX5" fmla="*/ 1260226 w 1266747"/>
                <a:gd name="connsiteY5" fmla="*/ 248592 h 1267560"/>
                <a:gd name="connsiteX6" fmla="*/ 1266747 w 1266747"/>
                <a:gd name="connsiteY6" fmla="*/ 377717 h 1267560"/>
                <a:gd name="connsiteX7" fmla="*/ 1260230 w 1266747"/>
                <a:gd name="connsiteY7" fmla="*/ 506905 h 1267560"/>
                <a:gd name="connsiteX8" fmla="*/ 977590 w 1266747"/>
                <a:gd name="connsiteY8" fmla="*/ 1183641 h 1267560"/>
                <a:gd name="connsiteX9" fmla="*/ 901396 w 1266747"/>
                <a:gd name="connsiteY9" fmla="*/ 1267560 h 1267560"/>
                <a:gd name="connsiteX10" fmla="*/ 895856 w 1266747"/>
                <a:gd name="connsiteY10" fmla="*/ 1261465 h 1267560"/>
                <a:gd name="connsiteX11" fmla="*/ 376975 w 1266747"/>
                <a:gd name="connsiteY11" fmla="*/ 947535 h 1267560"/>
                <a:gd name="connsiteX12" fmla="*/ 281588 w 1266747"/>
                <a:gd name="connsiteY12" fmla="*/ 923012 h 1267560"/>
                <a:gd name="connsiteX13" fmla="*/ 273126 w 1266747"/>
                <a:gd name="connsiteY13" fmla="*/ 890103 h 1267560"/>
                <a:gd name="connsiteX14" fmla="*/ 40797 w 1266747"/>
                <a:gd name="connsiteY14" fmla="*/ 460998 h 1267560"/>
                <a:gd name="connsiteX15" fmla="*/ 0 w 1266747"/>
                <a:gd name="connsiteY15" fmla="*/ 416109 h 1267560"/>
                <a:gd name="connsiteX16" fmla="*/ 40705 w 1266747"/>
                <a:gd name="connsiteY16" fmla="*/ 371277 h 1267560"/>
                <a:gd name="connsiteX17" fmla="*/ 130635 w 1266747"/>
                <a:gd name="connsiteY17" fmla="*/ 289460 h 1267560"/>
                <a:gd name="connsiteX18" fmla="*/ 214731 w 1266747"/>
                <a:gd name="connsiteY18" fmla="*/ 226511 h 1267560"/>
                <a:gd name="connsiteX19" fmla="*/ 228197 w 1266747"/>
                <a:gd name="connsiteY19" fmla="*/ 216441 h 1267560"/>
                <a:gd name="connsiteX20" fmla="*/ 257730 w 1266747"/>
                <a:gd name="connsiteY20" fmla="*/ 198481 h 1267560"/>
                <a:gd name="connsiteX21" fmla="*/ 332777 w 1266747"/>
                <a:gd name="connsiteY21" fmla="*/ 152889 h 1267560"/>
                <a:gd name="connsiteX22" fmla="*/ 807098 w 1266747"/>
                <a:gd name="connsiteY22" fmla="*/ 6530 h 1267560"/>
                <a:gd name="connsiteX23" fmla="*/ 936395 w 1266747"/>
                <a:gd name="connsiteY23" fmla="*/ 0 h 126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66747" h="1267560">
                  <a:moveTo>
                    <a:pt x="936395" y="0"/>
                  </a:moveTo>
                  <a:lnTo>
                    <a:pt x="1065645" y="6534"/>
                  </a:lnTo>
                  <a:cubicBezTo>
                    <a:pt x="1108217" y="10862"/>
                    <a:pt x="1150165" y="17301"/>
                    <a:pt x="1191384" y="25744"/>
                  </a:cubicBezTo>
                  <a:lnTo>
                    <a:pt x="1217822" y="32547"/>
                  </a:lnTo>
                  <a:lnTo>
                    <a:pt x="1241029" y="122807"/>
                  </a:lnTo>
                  <a:cubicBezTo>
                    <a:pt x="1249467" y="164041"/>
                    <a:pt x="1255902" y="206005"/>
                    <a:pt x="1260226" y="248592"/>
                  </a:cubicBezTo>
                  <a:lnTo>
                    <a:pt x="1266747" y="377717"/>
                  </a:lnTo>
                  <a:lnTo>
                    <a:pt x="1260230" y="506905"/>
                  </a:lnTo>
                  <a:cubicBezTo>
                    <a:pt x="1234290" y="762594"/>
                    <a:pt x="1132438" y="995819"/>
                    <a:pt x="977590" y="1183641"/>
                  </a:cubicBezTo>
                  <a:lnTo>
                    <a:pt x="901396" y="1267560"/>
                  </a:lnTo>
                  <a:lnTo>
                    <a:pt x="895856" y="1261465"/>
                  </a:lnTo>
                  <a:cubicBezTo>
                    <a:pt x="752626" y="1118257"/>
                    <a:pt x="575245" y="1009194"/>
                    <a:pt x="376975" y="947535"/>
                  </a:cubicBezTo>
                  <a:lnTo>
                    <a:pt x="281588" y="923012"/>
                  </a:lnTo>
                  <a:lnTo>
                    <a:pt x="273126" y="890103"/>
                  </a:lnTo>
                  <a:cubicBezTo>
                    <a:pt x="223773" y="731430"/>
                    <a:pt x="144066" y="586131"/>
                    <a:pt x="40797" y="460998"/>
                  </a:cubicBezTo>
                  <a:lnTo>
                    <a:pt x="0" y="416109"/>
                  </a:lnTo>
                  <a:lnTo>
                    <a:pt x="40705" y="371277"/>
                  </a:lnTo>
                  <a:cubicBezTo>
                    <a:pt x="69351" y="342602"/>
                    <a:pt x="99364" y="315294"/>
                    <a:pt x="130635" y="289460"/>
                  </a:cubicBezTo>
                  <a:lnTo>
                    <a:pt x="214731" y="226511"/>
                  </a:lnTo>
                  <a:lnTo>
                    <a:pt x="228197" y="216441"/>
                  </a:lnTo>
                  <a:lnTo>
                    <a:pt x="257730" y="198481"/>
                  </a:lnTo>
                  <a:lnTo>
                    <a:pt x="332777" y="152889"/>
                  </a:lnTo>
                  <a:cubicBezTo>
                    <a:pt x="476379" y="74880"/>
                    <a:pt x="636750" y="23829"/>
                    <a:pt x="807098" y="6530"/>
                  </a:cubicBezTo>
                  <a:lnTo>
                    <a:pt x="936395" y="0"/>
                  </a:lnTo>
                  <a:close/>
                </a:path>
              </a:pathLst>
            </a:custGeom>
            <a:solidFill>
              <a:srgbClr val="43C9EE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95EB7CBA-4E23-99AF-1B2E-D713FFDD1A66}"/>
                </a:ext>
              </a:extLst>
            </p:cNvPr>
            <p:cNvSpPr/>
            <p:nvPr/>
          </p:nvSpPr>
          <p:spPr>
            <a:xfrm>
              <a:off x="1814216" y="2294128"/>
              <a:ext cx="1266747" cy="1266674"/>
            </a:xfrm>
            <a:custGeom>
              <a:avLst/>
              <a:gdLst>
                <a:gd name="connsiteX0" fmla="*/ 330352 w 1266747"/>
                <a:gd name="connsiteY0" fmla="*/ 0 h 1266674"/>
                <a:gd name="connsiteX1" fmla="*/ 459649 w 1266747"/>
                <a:gd name="connsiteY1" fmla="*/ 6530 h 1266674"/>
                <a:gd name="connsiteX2" fmla="*/ 933970 w 1266747"/>
                <a:gd name="connsiteY2" fmla="*/ 152889 h 1266674"/>
                <a:gd name="connsiteX3" fmla="*/ 1010002 w 1266747"/>
                <a:gd name="connsiteY3" fmla="*/ 199079 h 1266674"/>
                <a:gd name="connsiteX4" fmla="*/ 1038546 w 1266747"/>
                <a:gd name="connsiteY4" fmla="*/ 216438 h 1266674"/>
                <a:gd name="connsiteX5" fmla="*/ 1052868 w 1266747"/>
                <a:gd name="connsiteY5" fmla="*/ 227148 h 1266674"/>
                <a:gd name="connsiteX6" fmla="*/ 1136112 w 1266747"/>
                <a:gd name="connsiteY6" fmla="*/ 289460 h 1266674"/>
                <a:gd name="connsiteX7" fmla="*/ 1226042 w 1266747"/>
                <a:gd name="connsiteY7" fmla="*/ 371277 h 1266674"/>
                <a:gd name="connsiteX8" fmla="*/ 1266747 w 1266747"/>
                <a:gd name="connsiteY8" fmla="*/ 416109 h 1266674"/>
                <a:gd name="connsiteX9" fmla="*/ 1225950 w 1266747"/>
                <a:gd name="connsiteY9" fmla="*/ 460998 h 1266674"/>
                <a:gd name="connsiteX10" fmla="*/ 993621 w 1266747"/>
                <a:gd name="connsiteY10" fmla="*/ 890103 h 1266674"/>
                <a:gd name="connsiteX11" fmla="*/ 985265 w 1266747"/>
                <a:gd name="connsiteY11" fmla="*/ 922600 h 1266674"/>
                <a:gd name="connsiteX12" fmla="*/ 888175 w 1266747"/>
                <a:gd name="connsiteY12" fmla="*/ 947564 h 1266674"/>
                <a:gd name="connsiteX13" fmla="*/ 369107 w 1266747"/>
                <a:gd name="connsiteY13" fmla="*/ 1261656 h 1266674"/>
                <a:gd name="connsiteX14" fmla="*/ 364546 w 1266747"/>
                <a:gd name="connsiteY14" fmla="*/ 1266674 h 1266674"/>
                <a:gd name="connsiteX15" fmla="*/ 289157 w 1266747"/>
                <a:gd name="connsiteY15" fmla="*/ 1183641 h 1266674"/>
                <a:gd name="connsiteX16" fmla="*/ 6517 w 1266747"/>
                <a:gd name="connsiteY16" fmla="*/ 506905 h 1266674"/>
                <a:gd name="connsiteX17" fmla="*/ 0 w 1266747"/>
                <a:gd name="connsiteY17" fmla="*/ 377707 h 1266674"/>
                <a:gd name="connsiteX18" fmla="*/ 6520 w 1266747"/>
                <a:gd name="connsiteY18" fmla="*/ 248592 h 1266674"/>
                <a:gd name="connsiteX19" fmla="*/ 25717 w 1266747"/>
                <a:gd name="connsiteY19" fmla="*/ 122807 h 1266674"/>
                <a:gd name="connsiteX20" fmla="*/ 48924 w 1266747"/>
                <a:gd name="connsiteY20" fmla="*/ 32549 h 1266674"/>
                <a:gd name="connsiteX21" fmla="*/ 75364 w 1266747"/>
                <a:gd name="connsiteY21" fmla="*/ 25744 h 1266674"/>
                <a:gd name="connsiteX22" fmla="*/ 201103 w 1266747"/>
                <a:gd name="connsiteY22" fmla="*/ 6534 h 1266674"/>
                <a:gd name="connsiteX23" fmla="*/ 330352 w 1266747"/>
                <a:gd name="connsiteY23" fmla="*/ 0 h 126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66747" h="1266674">
                  <a:moveTo>
                    <a:pt x="330352" y="0"/>
                  </a:moveTo>
                  <a:lnTo>
                    <a:pt x="459649" y="6530"/>
                  </a:lnTo>
                  <a:cubicBezTo>
                    <a:pt x="629998" y="23829"/>
                    <a:pt x="790369" y="74880"/>
                    <a:pt x="933970" y="152889"/>
                  </a:cubicBezTo>
                  <a:lnTo>
                    <a:pt x="1010002" y="199079"/>
                  </a:lnTo>
                  <a:lnTo>
                    <a:pt x="1038546" y="216438"/>
                  </a:lnTo>
                  <a:lnTo>
                    <a:pt x="1052868" y="227148"/>
                  </a:lnTo>
                  <a:lnTo>
                    <a:pt x="1136112" y="289460"/>
                  </a:lnTo>
                  <a:cubicBezTo>
                    <a:pt x="1167384" y="315294"/>
                    <a:pt x="1197396" y="342602"/>
                    <a:pt x="1226042" y="371277"/>
                  </a:cubicBezTo>
                  <a:lnTo>
                    <a:pt x="1266747" y="416109"/>
                  </a:lnTo>
                  <a:lnTo>
                    <a:pt x="1225950" y="460998"/>
                  </a:lnTo>
                  <a:cubicBezTo>
                    <a:pt x="1122681" y="586131"/>
                    <a:pt x="1042974" y="731430"/>
                    <a:pt x="993621" y="890103"/>
                  </a:cubicBezTo>
                  <a:lnTo>
                    <a:pt x="985265" y="922600"/>
                  </a:lnTo>
                  <a:lnTo>
                    <a:pt x="888175" y="947564"/>
                  </a:lnTo>
                  <a:cubicBezTo>
                    <a:pt x="689834" y="1009255"/>
                    <a:pt x="512390" y="1118374"/>
                    <a:pt x="369107" y="1261656"/>
                  </a:cubicBezTo>
                  <a:lnTo>
                    <a:pt x="364546" y="1266674"/>
                  </a:lnTo>
                  <a:lnTo>
                    <a:pt x="289157" y="1183641"/>
                  </a:lnTo>
                  <a:cubicBezTo>
                    <a:pt x="134309" y="995819"/>
                    <a:pt x="32457" y="762594"/>
                    <a:pt x="6517" y="506905"/>
                  </a:cubicBezTo>
                  <a:lnTo>
                    <a:pt x="0" y="377707"/>
                  </a:lnTo>
                  <a:lnTo>
                    <a:pt x="6520" y="248592"/>
                  </a:lnTo>
                  <a:cubicBezTo>
                    <a:pt x="10844" y="206005"/>
                    <a:pt x="17279" y="164041"/>
                    <a:pt x="25717" y="122807"/>
                  </a:cubicBezTo>
                  <a:lnTo>
                    <a:pt x="48924" y="32549"/>
                  </a:lnTo>
                  <a:lnTo>
                    <a:pt x="75364" y="25744"/>
                  </a:lnTo>
                  <a:cubicBezTo>
                    <a:pt x="116583" y="17301"/>
                    <a:pt x="158531" y="10862"/>
                    <a:pt x="201103" y="6534"/>
                  </a:cubicBezTo>
                  <a:lnTo>
                    <a:pt x="330352" y="0"/>
                  </a:lnTo>
                  <a:close/>
                </a:path>
              </a:pathLst>
            </a:custGeom>
            <a:solidFill>
              <a:srgbClr val="009CE8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54EAF1FD-DDED-48FB-F1FF-8B68C20A72FD}"/>
                </a:ext>
              </a:extLst>
            </p:cNvPr>
            <p:cNvSpPr/>
            <p:nvPr/>
          </p:nvSpPr>
          <p:spPr>
            <a:xfrm>
              <a:off x="3982530" y="2326499"/>
              <a:ext cx="1302014" cy="2469290"/>
            </a:xfrm>
            <a:custGeom>
              <a:avLst/>
              <a:gdLst>
                <a:gd name="connsiteX0" fmla="*/ 316335 w 1302014"/>
                <a:gd name="connsiteY0" fmla="*/ 0 h 2469290"/>
                <a:gd name="connsiteX1" fmla="*/ 411900 w 1302014"/>
                <a:gd name="connsiteY1" fmla="*/ 24572 h 2469290"/>
                <a:gd name="connsiteX2" fmla="*/ 1302014 w 1302014"/>
                <a:gd name="connsiteY2" fmla="*/ 1234449 h 2469290"/>
                <a:gd name="connsiteX3" fmla="*/ 411900 w 1302014"/>
                <a:gd name="connsiteY3" fmla="*/ 2444326 h 2469290"/>
                <a:gd name="connsiteX4" fmla="*/ 314810 w 1302014"/>
                <a:gd name="connsiteY4" fmla="*/ 2469290 h 2469290"/>
                <a:gd name="connsiteX5" fmla="*/ 314845 w 1302014"/>
                <a:gd name="connsiteY5" fmla="*/ 2469155 h 2469290"/>
                <a:gd name="connsiteX6" fmla="*/ 316690 w 1302014"/>
                <a:gd name="connsiteY6" fmla="*/ 2468680 h 2469290"/>
                <a:gd name="connsiteX7" fmla="*/ 339598 w 1302014"/>
                <a:gd name="connsiteY7" fmla="*/ 2379594 h 2469290"/>
                <a:gd name="connsiteX8" fmla="*/ 365327 w 1302014"/>
                <a:gd name="connsiteY8" fmla="*/ 2124416 h 2469290"/>
                <a:gd name="connsiteX9" fmla="*/ 76149 w 1302014"/>
                <a:gd name="connsiteY9" fmla="*/ 1319010 h 2469290"/>
                <a:gd name="connsiteX10" fmla="*/ 0 w 1302014"/>
                <a:gd name="connsiteY10" fmla="*/ 1235238 h 2469290"/>
                <a:gd name="connsiteX11" fmla="*/ 76043 w 1302014"/>
                <a:gd name="connsiteY11" fmla="*/ 1151569 h 2469290"/>
                <a:gd name="connsiteX12" fmla="*/ 365326 w 1302014"/>
                <a:gd name="connsiteY12" fmla="*/ 345747 h 2469290"/>
                <a:gd name="connsiteX13" fmla="*/ 365306 w 1302014"/>
                <a:gd name="connsiteY13" fmla="*/ 345346 h 2469290"/>
                <a:gd name="connsiteX14" fmla="*/ 365327 w 1302014"/>
                <a:gd name="connsiteY14" fmla="*/ 344924 h 2469290"/>
                <a:gd name="connsiteX15" fmla="*/ 339598 w 1302014"/>
                <a:gd name="connsiteY15" fmla="*/ 89447 h 2469290"/>
                <a:gd name="connsiteX16" fmla="*/ 316690 w 1302014"/>
                <a:gd name="connsiteY16" fmla="*/ 256 h 2469290"/>
                <a:gd name="connsiteX17" fmla="*/ 316381 w 1302014"/>
                <a:gd name="connsiteY17" fmla="*/ 176 h 2469290"/>
                <a:gd name="connsiteX18" fmla="*/ 316335 w 1302014"/>
                <a:gd name="connsiteY18" fmla="*/ 0 h 246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02014" h="2469290">
                  <a:moveTo>
                    <a:pt x="316335" y="0"/>
                  </a:moveTo>
                  <a:lnTo>
                    <a:pt x="411900" y="24572"/>
                  </a:lnTo>
                  <a:cubicBezTo>
                    <a:pt x="927587" y="184968"/>
                    <a:pt x="1302014" y="665982"/>
                    <a:pt x="1302014" y="1234449"/>
                  </a:cubicBezTo>
                  <a:cubicBezTo>
                    <a:pt x="1302014" y="1802916"/>
                    <a:pt x="927587" y="2283931"/>
                    <a:pt x="411900" y="2444326"/>
                  </a:cubicBezTo>
                  <a:lnTo>
                    <a:pt x="314810" y="2469290"/>
                  </a:lnTo>
                  <a:lnTo>
                    <a:pt x="314845" y="2469155"/>
                  </a:lnTo>
                  <a:lnTo>
                    <a:pt x="316690" y="2468680"/>
                  </a:lnTo>
                  <a:lnTo>
                    <a:pt x="339598" y="2379594"/>
                  </a:lnTo>
                  <a:cubicBezTo>
                    <a:pt x="356468" y="2297169"/>
                    <a:pt x="365327" y="2211827"/>
                    <a:pt x="365327" y="2124416"/>
                  </a:cubicBezTo>
                  <a:cubicBezTo>
                    <a:pt x="365327" y="1818477"/>
                    <a:pt x="256805" y="1537880"/>
                    <a:pt x="76149" y="1319010"/>
                  </a:cubicBezTo>
                  <a:lnTo>
                    <a:pt x="0" y="1235238"/>
                  </a:lnTo>
                  <a:lnTo>
                    <a:pt x="76043" y="1151569"/>
                  </a:lnTo>
                  <a:cubicBezTo>
                    <a:pt x="256764" y="932586"/>
                    <a:pt x="365326" y="651844"/>
                    <a:pt x="365326" y="345747"/>
                  </a:cubicBezTo>
                  <a:lnTo>
                    <a:pt x="365306" y="345346"/>
                  </a:lnTo>
                  <a:lnTo>
                    <a:pt x="365327" y="344924"/>
                  </a:lnTo>
                  <a:cubicBezTo>
                    <a:pt x="365327" y="257410"/>
                    <a:pt x="356468" y="171969"/>
                    <a:pt x="339598" y="89447"/>
                  </a:cubicBezTo>
                  <a:lnTo>
                    <a:pt x="316690" y="256"/>
                  </a:lnTo>
                  <a:lnTo>
                    <a:pt x="316381" y="176"/>
                  </a:lnTo>
                  <a:lnTo>
                    <a:pt x="316335" y="0"/>
                  </a:lnTo>
                  <a:close/>
                </a:path>
              </a:pathLst>
            </a:custGeom>
            <a:solidFill>
              <a:srgbClr val="2251F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B7C4D9FD-9643-C83B-4204-E8838FDFB8A8}"/>
                </a:ext>
              </a:extLst>
            </p:cNvPr>
            <p:cNvSpPr/>
            <p:nvPr/>
          </p:nvSpPr>
          <p:spPr>
            <a:xfrm>
              <a:off x="877508" y="2326499"/>
              <a:ext cx="1301209" cy="2468234"/>
            </a:xfrm>
            <a:custGeom>
              <a:avLst/>
              <a:gdLst>
                <a:gd name="connsiteX0" fmla="*/ 985678 w 1301209"/>
                <a:gd name="connsiteY0" fmla="*/ 0 h 2468234"/>
                <a:gd name="connsiteX1" fmla="*/ 985632 w 1301209"/>
                <a:gd name="connsiteY1" fmla="*/ 178 h 2468234"/>
                <a:gd name="connsiteX2" fmla="*/ 985326 w 1301209"/>
                <a:gd name="connsiteY2" fmla="*/ 257 h 2468234"/>
                <a:gd name="connsiteX3" fmla="*/ 962416 w 1301209"/>
                <a:gd name="connsiteY3" fmla="*/ 89447 h 2468234"/>
                <a:gd name="connsiteX4" fmla="*/ 936687 w 1301209"/>
                <a:gd name="connsiteY4" fmla="*/ 344924 h 2468234"/>
                <a:gd name="connsiteX5" fmla="*/ 936708 w 1301209"/>
                <a:gd name="connsiteY5" fmla="*/ 345336 h 2468234"/>
                <a:gd name="connsiteX6" fmla="*/ 936687 w 1301209"/>
                <a:gd name="connsiteY6" fmla="*/ 345747 h 2468234"/>
                <a:gd name="connsiteX7" fmla="*/ 1225970 w 1301209"/>
                <a:gd name="connsiteY7" fmla="*/ 1151569 h 2468234"/>
                <a:gd name="connsiteX8" fmla="*/ 1301209 w 1301209"/>
                <a:gd name="connsiteY8" fmla="*/ 1234353 h 2468234"/>
                <a:gd name="connsiteX9" fmla="*/ 1224052 w 1301209"/>
                <a:gd name="connsiteY9" fmla="*/ 1319248 h 2468234"/>
                <a:gd name="connsiteX10" fmla="*/ 934769 w 1301209"/>
                <a:gd name="connsiteY10" fmla="*/ 2125070 h 2468234"/>
                <a:gd name="connsiteX11" fmla="*/ 960507 w 1301209"/>
                <a:gd name="connsiteY11" fmla="*/ 2380381 h 2468234"/>
                <a:gd name="connsiteX12" fmla="*/ 983096 w 1301209"/>
                <a:gd name="connsiteY12" fmla="*/ 2468234 h 2468234"/>
                <a:gd name="connsiteX13" fmla="*/ 890114 w 1301209"/>
                <a:gd name="connsiteY13" fmla="*/ 2444326 h 2468234"/>
                <a:gd name="connsiteX14" fmla="*/ 0 w 1301209"/>
                <a:gd name="connsiteY14" fmla="*/ 1234449 h 2468234"/>
                <a:gd name="connsiteX15" fmla="*/ 890114 w 1301209"/>
                <a:gd name="connsiteY15" fmla="*/ 24572 h 2468234"/>
                <a:gd name="connsiteX16" fmla="*/ 985678 w 1301209"/>
                <a:gd name="connsiteY16" fmla="*/ 0 h 246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01209" h="2468234">
                  <a:moveTo>
                    <a:pt x="985678" y="0"/>
                  </a:moveTo>
                  <a:lnTo>
                    <a:pt x="985632" y="178"/>
                  </a:lnTo>
                  <a:lnTo>
                    <a:pt x="985326" y="257"/>
                  </a:lnTo>
                  <a:lnTo>
                    <a:pt x="962416" y="89447"/>
                  </a:lnTo>
                  <a:cubicBezTo>
                    <a:pt x="945547" y="171969"/>
                    <a:pt x="936687" y="257410"/>
                    <a:pt x="936687" y="344924"/>
                  </a:cubicBezTo>
                  <a:lnTo>
                    <a:pt x="936708" y="345336"/>
                  </a:lnTo>
                  <a:lnTo>
                    <a:pt x="936687" y="345747"/>
                  </a:lnTo>
                  <a:cubicBezTo>
                    <a:pt x="936687" y="651844"/>
                    <a:pt x="1045249" y="932586"/>
                    <a:pt x="1225970" y="1151569"/>
                  </a:cubicBezTo>
                  <a:lnTo>
                    <a:pt x="1301209" y="1234353"/>
                  </a:lnTo>
                  <a:lnTo>
                    <a:pt x="1224052" y="1319248"/>
                  </a:lnTo>
                  <a:cubicBezTo>
                    <a:pt x="1043331" y="1538231"/>
                    <a:pt x="934769" y="1818973"/>
                    <a:pt x="934769" y="2125070"/>
                  </a:cubicBezTo>
                  <a:cubicBezTo>
                    <a:pt x="934769" y="2212527"/>
                    <a:pt x="943631" y="2297913"/>
                    <a:pt x="960507" y="2380381"/>
                  </a:cubicBezTo>
                  <a:lnTo>
                    <a:pt x="983096" y="2468234"/>
                  </a:lnTo>
                  <a:lnTo>
                    <a:pt x="890114" y="2444326"/>
                  </a:lnTo>
                  <a:cubicBezTo>
                    <a:pt x="374427" y="2283931"/>
                    <a:pt x="0" y="1802916"/>
                    <a:pt x="0" y="1234449"/>
                  </a:cubicBezTo>
                  <a:cubicBezTo>
                    <a:pt x="0" y="665982"/>
                    <a:pt x="374427" y="184968"/>
                    <a:pt x="890114" y="24572"/>
                  </a:cubicBezTo>
                  <a:lnTo>
                    <a:pt x="985678" y="0"/>
                  </a:lnTo>
                  <a:close/>
                </a:path>
              </a:pathLst>
            </a:custGeom>
            <a:solidFill>
              <a:srgbClr val="061F79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68D4A57-4B34-3E00-2228-8F25260FF7DD}"/>
                </a:ext>
              </a:extLst>
            </p:cNvPr>
            <p:cNvSpPr/>
            <p:nvPr/>
          </p:nvSpPr>
          <p:spPr>
            <a:xfrm>
              <a:off x="3080963" y="2710167"/>
              <a:ext cx="127" cy="140"/>
            </a:xfrm>
            <a:custGeom>
              <a:avLst/>
              <a:gdLst>
                <a:gd name="connsiteX0" fmla="*/ 64 w 127"/>
                <a:gd name="connsiteY0" fmla="*/ 0 h 140"/>
                <a:gd name="connsiteX1" fmla="*/ 127 w 127"/>
                <a:gd name="connsiteY1" fmla="*/ 70 h 140"/>
                <a:gd name="connsiteX2" fmla="*/ 64 w 127"/>
                <a:gd name="connsiteY2" fmla="*/ 140 h 140"/>
                <a:gd name="connsiteX3" fmla="*/ 0 w 127"/>
                <a:gd name="connsiteY3" fmla="*/ 70 h 140"/>
                <a:gd name="connsiteX4" fmla="*/ 64 w 127"/>
                <a:gd name="connsiteY4" fmla="*/ 0 h 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" h="140">
                  <a:moveTo>
                    <a:pt x="64" y="0"/>
                  </a:moveTo>
                  <a:lnTo>
                    <a:pt x="127" y="70"/>
                  </a:lnTo>
                  <a:lnTo>
                    <a:pt x="64" y="140"/>
                  </a:lnTo>
                  <a:lnTo>
                    <a:pt x="0" y="7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7F4B9C2D-31F4-B435-1883-AF6589BD13A9}"/>
                </a:ext>
              </a:extLst>
            </p:cNvPr>
            <p:cNvSpPr/>
            <p:nvPr/>
          </p:nvSpPr>
          <p:spPr>
            <a:xfrm>
              <a:off x="2799628" y="2710308"/>
              <a:ext cx="562903" cy="506795"/>
            </a:xfrm>
            <a:custGeom>
              <a:avLst/>
              <a:gdLst>
                <a:gd name="connsiteX0" fmla="*/ 281399 w 562903"/>
                <a:gd name="connsiteY0" fmla="*/ 0 h 506795"/>
                <a:gd name="connsiteX1" fmla="*/ 322364 w 562903"/>
                <a:gd name="connsiteY1" fmla="*/ 45119 h 506795"/>
                <a:gd name="connsiteX2" fmla="*/ 554608 w 562903"/>
                <a:gd name="connsiteY2" fmla="*/ 474503 h 506795"/>
                <a:gd name="connsiteX3" fmla="*/ 562903 w 562903"/>
                <a:gd name="connsiteY3" fmla="*/ 506795 h 506795"/>
                <a:gd name="connsiteX4" fmla="*/ 537075 w 562903"/>
                <a:gd name="connsiteY4" fmla="*/ 500155 h 506795"/>
                <a:gd name="connsiteX5" fmla="*/ 281857 w 562903"/>
                <a:gd name="connsiteY5" fmla="*/ 474431 h 506795"/>
                <a:gd name="connsiteX6" fmla="*/ 281398 w 562903"/>
                <a:gd name="connsiteY6" fmla="*/ 474454 h 506795"/>
                <a:gd name="connsiteX7" fmla="*/ 280939 w 562903"/>
                <a:gd name="connsiteY7" fmla="*/ 474431 h 506795"/>
                <a:gd name="connsiteX8" fmla="*/ 280689 w 562903"/>
                <a:gd name="connsiteY8" fmla="*/ 474444 h 506795"/>
                <a:gd name="connsiteX9" fmla="*/ 280439 w 562903"/>
                <a:gd name="connsiteY9" fmla="*/ 474431 h 506795"/>
                <a:gd name="connsiteX10" fmla="*/ 279960 w 562903"/>
                <a:gd name="connsiteY10" fmla="*/ 474455 h 506795"/>
                <a:gd name="connsiteX11" fmla="*/ 279480 w 562903"/>
                <a:gd name="connsiteY11" fmla="*/ 474431 h 506795"/>
                <a:gd name="connsiteX12" fmla="*/ 24169 w 562903"/>
                <a:gd name="connsiteY12" fmla="*/ 500169 h 506795"/>
                <a:gd name="connsiteX13" fmla="*/ 0 w 562903"/>
                <a:gd name="connsiteY13" fmla="*/ 506384 h 506795"/>
                <a:gd name="connsiteX14" fmla="*/ 8189 w 562903"/>
                <a:gd name="connsiteY14" fmla="*/ 474503 h 506795"/>
                <a:gd name="connsiteX15" fmla="*/ 240433 w 562903"/>
                <a:gd name="connsiteY15" fmla="*/ 45119 h 506795"/>
                <a:gd name="connsiteX16" fmla="*/ 281399 w 562903"/>
                <a:gd name="connsiteY16" fmla="*/ 0 h 506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903" h="506795">
                  <a:moveTo>
                    <a:pt x="281399" y="0"/>
                  </a:moveTo>
                  <a:lnTo>
                    <a:pt x="322364" y="45119"/>
                  </a:lnTo>
                  <a:cubicBezTo>
                    <a:pt x="425596" y="170333"/>
                    <a:pt x="505274" y="315727"/>
                    <a:pt x="554608" y="474503"/>
                  </a:cubicBezTo>
                  <a:lnTo>
                    <a:pt x="562903" y="506795"/>
                  </a:lnTo>
                  <a:lnTo>
                    <a:pt x="537075" y="500155"/>
                  </a:lnTo>
                  <a:cubicBezTo>
                    <a:pt x="454638" y="483289"/>
                    <a:pt x="369282" y="474431"/>
                    <a:pt x="281857" y="474431"/>
                  </a:cubicBezTo>
                  <a:lnTo>
                    <a:pt x="281398" y="474454"/>
                  </a:lnTo>
                  <a:lnTo>
                    <a:pt x="280939" y="474431"/>
                  </a:lnTo>
                  <a:lnTo>
                    <a:pt x="280689" y="474444"/>
                  </a:lnTo>
                  <a:lnTo>
                    <a:pt x="280439" y="474431"/>
                  </a:lnTo>
                  <a:lnTo>
                    <a:pt x="279960" y="474455"/>
                  </a:lnTo>
                  <a:lnTo>
                    <a:pt x="279480" y="474431"/>
                  </a:lnTo>
                  <a:cubicBezTo>
                    <a:pt x="192024" y="474431"/>
                    <a:pt x="106637" y="483293"/>
                    <a:pt x="24169" y="500169"/>
                  </a:cubicBezTo>
                  <a:lnTo>
                    <a:pt x="0" y="506384"/>
                  </a:lnTo>
                  <a:lnTo>
                    <a:pt x="8189" y="474503"/>
                  </a:lnTo>
                  <a:cubicBezTo>
                    <a:pt x="57523" y="315727"/>
                    <a:pt x="137202" y="170333"/>
                    <a:pt x="240433" y="45119"/>
                  </a:cubicBezTo>
                  <a:lnTo>
                    <a:pt x="281399" y="0"/>
                  </a:lnTo>
                  <a:close/>
                </a:path>
              </a:pathLst>
            </a:custGeom>
            <a:solidFill>
              <a:srgbClr val="41CDED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369C3988-68CA-9D4E-F6D4-300F68A5D2BA}"/>
                </a:ext>
              </a:extLst>
            </p:cNvPr>
            <p:cNvSpPr/>
            <p:nvPr/>
          </p:nvSpPr>
          <p:spPr>
            <a:xfrm>
              <a:off x="3080775" y="3184761"/>
              <a:ext cx="281794" cy="32722"/>
            </a:xfrm>
            <a:custGeom>
              <a:avLst/>
              <a:gdLst>
                <a:gd name="connsiteX0" fmla="*/ 250 w 281794"/>
                <a:gd name="connsiteY0" fmla="*/ 0 h 32722"/>
                <a:gd name="connsiteX1" fmla="*/ 129270 w 281794"/>
                <a:gd name="connsiteY1" fmla="*/ 6514 h 32722"/>
                <a:gd name="connsiteX2" fmla="*/ 255009 w 281794"/>
                <a:gd name="connsiteY2" fmla="*/ 25702 h 32722"/>
                <a:gd name="connsiteX3" fmla="*/ 281757 w 281794"/>
                <a:gd name="connsiteY3" fmla="*/ 32578 h 32722"/>
                <a:gd name="connsiteX4" fmla="*/ 281794 w 281794"/>
                <a:gd name="connsiteY4" fmla="*/ 32722 h 32722"/>
                <a:gd name="connsiteX5" fmla="*/ 254581 w 281794"/>
                <a:gd name="connsiteY5" fmla="*/ 25722 h 32722"/>
                <a:gd name="connsiteX6" fmla="*/ 128807 w 281794"/>
                <a:gd name="connsiteY6" fmla="*/ 6519 h 32722"/>
                <a:gd name="connsiteX7" fmla="*/ 0 w 281794"/>
                <a:gd name="connsiteY7" fmla="*/ 13 h 32722"/>
                <a:gd name="connsiteX8" fmla="*/ 250 w 281794"/>
                <a:gd name="connsiteY8" fmla="*/ 0 h 3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794" h="32722">
                  <a:moveTo>
                    <a:pt x="250" y="0"/>
                  </a:moveTo>
                  <a:lnTo>
                    <a:pt x="129270" y="6514"/>
                  </a:lnTo>
                  <a:cubicBezTo>
                    <a:pt x="171842" y="10837"/>
                    <a:pt x="213790" y="17269"/>
                    <a:pt x="255009" y="25702"/>
                  </a:cubicBezTo>
                  <a:lnTo>
                    <a:pt x="281757" y="32578"/>
                  </a:lnTo>
                  <a:lnTo>
                    <a:pt x="281794" y="32722"/>
                  </a:lnTo>
                  <a:lnTo>
                    <a:pt x="254581" y="25722"/>
                  </a:lnTo>
                  <a:cubicBezTo>
                    <a:pt x="213351" y="17282"/>
                    <a:pt x="171391" y="10846"/>
                    <a:pt x="128807" y="6519"/>
                  </a:cubicBezTo>
                  <a:lnTo>
                    <a:pt x="0" y="13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7036E913-2B8E-121D-9C8D-2A865776FBD6}"/>
                </a:ext>
              </a:extLst>
            </p:cNvPr>
            <p:cNvSpPr/>
            <p:nvPr/>
          </p:nvSpPr>
          <p:spPr>
            <a:xfrm>
              <a:off x="2799521" y="3184762"/>
              <a:ext cx="280316" cy="32340"/>
            </a:xfrm>
            <a:custGeom>
              <a:avLst/>
              <a:gdLst>
                <a:gd name="connsiteX0" fmla="*/ 280066 w 280316"/>
                <a:gd name="connsiteY0" fmla="*/ 0 h 32340"/>
                <a:gd name="connsiteX1" fmla="*/ 280316 w 280316"/>
                <a:gd name="connsiteY1" fmla="*/ 13 h 32340"/>
                <a:gd name="connsiteX2" fmla="*/ 151566 w 280316"/>
                <a:gd name="connsiteY2" fmla="*/ 6513 h 32340"/>
                <a:gd name="connsiteX3" fmla="*/ 25827 w 280316"/>
                <a:gd name="connsiteY3" fmla="*/ 25700 h 32340"/>
                <a:gd name="connsiteX4" fmla="*/ 0 w 280316"/>
                <a:gd name="connsiteY4" fmla="*/ 32340 h 32340"/>
                <a:gd name="connsiteX5" fmla="*/ 34 w 280316"/>
                <a:gd name="connsiteY5" fmla="*/ 32209 h 32340"/>
                <a:gd name="connsiteX6" fmla="*/ 25255 w 280316"/>
                <a:gd name="connsiteY6" fmla="*/ 25721 h 32340"/>
                <a:gd name="connsiteX7" fmla="*/ 151029 w 280316"/>
                <a:gd name="connsiteY7" fmla="*/ 6518 h 32340"/>
                <a:gd name="connsiteX8" fmla="*/ 280066 w 280316"/>
                <a:gd name="connsiteY8" fmla="*/ 0 h 32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316" h="32340">
                  <a:moveTo>
                    <a:pt x="280066" y="0"/>
                  </a:moveTo>
                  <a:lnTo>
                    <a:pt x="280316" y="13"/>
                  </a:lnTo>
                  <a:lnTo>
                    <a:pt x="151566" y="6513"/>
                  </a:lnTo>
                  <a:cubicBezTo>
                    <a:pt x="108994" y="10836"/>
                    <a:pt x="67046" y="17267"/>
                    <a:pt x="25827" y="25700"/>
                  </a:cubicBezTo>
                  <a:lnTo>
                    <a:pt x="0" y="32340"/>
                  </a:lnTo>
                  <a:lnTo>
                    <a:pt x="34" y="32209"/>
                  </a:lnTo>
                  <a:lnTo>
                    <a:pt x="25255" y="25721"/>
                  </a:lnTo>
                  <a:cubicBezTo>
                    <a:pt x="66485" y="17281"/>
                    <a:pt x="108446" y="10845"/>
                    <a:pt x="151029" y="6518"/>
                  </a:cubicBezTo>
                  <a:lnTo>
                    <a:pt x="280066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FEC4809C-B214-D9C9-5EBD-54D67E31A297}"/>
                </a:ext>
              </a:extLst>
            </p:cNvPr>
            <p:cNvSpPr/>
            <p:nvPr/>
          </p:nvSpPr>
          <p:spPr>
            <a:xfrm>
              <a:off x="2750904" y="3184798"/>
              <a:ext cx="660245" cy="754244"/>
            </a:xfrm>
            <a:custGeom>
              <a:avLst/>
              <a:gdLst>
                <a:gd name="connsiteX0" fmla="*/ 329392 w 660245"/>
                <a:gd name="connsiteY0" fmla="*/ 0 h 754244"/>
                <a:gd name="connsiteX1" fmla="*/ 457730 w 660245"/>
                <a:gd name="connsiteY1" fmla="*/ 6481 h 754244"/>
                <a:gd name="connsiteX2" fmla="*/ 583515 w 660245"/>
                <a:gd name="connsiteY2" fmla="*/ 25678 h 754244"/>
                <a:gd name="connsiteX3" fmla="*/ 611730 w 660245"/>
                <a:gd name="connsiteY3" fmla="*/ 32933 h 754244"/>
                <a:gd name="connsiteX4" fmla="*/ 634539 w 660245"/>
                <a:gd name="connsiteY4" fmla="*/ 121626 h 754244"/>
                <a:gd name="connsiteX5" fmla="*/ 651150 w 660245"/>
                <a:gd name="connsiteY5" fmla="*/ 230457 h 754244"/>
                <a:gd name="connsiteX6" fmla="*/ 653728 w 660245"/>
                <a:gd name="connsiteY6" fmla="*/ 247364 h 754244"/>
                <a:gd name="connsiteX7" fmla="*/ 660245 w 660245"/>
                <a:gd name="connsiteY7" fmla="*/ 376562 h 754244"/>
                <a:gd name="connsiteX8" fmla="*/ 653725 w 660245"/>
                <a:gd name="connsiteY8" fmla="*/ 505676 h 754244"/>
                <a:gd name="connsiteX9" fmla="*/ 634528 w 660245"/>
                <a:gd name="connsiteY9" fmla="*/ 631461 h 754244"/>
                <a:gd name="connsiteX10" fmla="*/ 611347 w 660245"/>
                <a:gd name="connsiteY10" fmla="*/ 721617 h 754244"/>
                <a:gd name="connsiteX11" fmla="*/ 584453 w 660245"/>
                <a:gd name="connsiteY11" fmla="*/ 728535 h 754244"/>
                <a:gd name="connsiteX12" fmla="*/ 458679 w 660245"/>
                <a:gd name="connsiteY12" fmla="*/ 747738 h 754244"/>
                <a:gd name="connsiteX13" fmla="*/ 329882 w 660245"/>
                <a:gd name="connsiteY13" fmla="*/ 754244 h 754244"/>
                <a:gd name="connsiteX14" fmla="*/ 201102 w 660245"/>
                <a:gd name="connsiteY14" fmla="*/ 747734 h 754244"/>
                <a:gd name="connsiteX15" fmla="*/ 75363 w 660245"/>
                <a:gd name="connsiteY15" fmla="*/ 728524 h 754244"/>
                <a:gd name="connsiteX16" fmla="*/ 48925 w 660245"/>
                <a:gd name="connsiteY16" fmla="*/ 721720 h 754244"/>
                <a:gd name="connsiteX17" fmla="*/ 25717 w 660245"/>
                <a:gd name="connsiteY17" fmla="*/ 631461 h 754244"/>
                <a:gd name="connsiteX18" fmla="*/ 6520 w 660245"/>
                <a:gd name="connsiteY18" fmla="*/ 505676 h 754244"/>
                <a:gd name="connsiteX19" fmla="*/ 0 w 660245"/>
                <a:gd name="connsiteY19" fmla="*/ 376562 h 754244"/>
                <a:gd name="connsiteX20" fmla="*/ 6486 w 660245"/>
                <a:gd name="connsiteY20" fmla="*/ 247973 h 754244"/>
                <a:gd name="connsiteX21" fmla="*/ 6517 w 660245"/>
                <a:gd name="connsiteY21" fmla="*/ 247364 h 754244"/>
                <a:gd name="connsiteX22" fmla="*/ 8131 w 660245"/>
                <a:gd name="connsiteY22" fmla="*/ 236777 h 754244"/>
                <a:gd name="connsiteX23" fmla="*/ 25708 w 660245"/>
                <a:gd name="connsiteY23" fmla="*/ 121626 h 754244"/>
                <a:gd name="connsiteX24" fmla="*/ 48617 w 660245"/>
                <a:gd name="connsiteY24" fmla="*/ 32541 h 754244"/>
                <a:gd name="connsiteX25" fmla="*/ 75363 w 660245"/>
                <a:gd name="connsiteY25" fmla="*/ 25665 h 754244"/>
                <a:gd name="connsiteX26" fmla="*/ 201102 w 660245"/>
                <a:gd name="connsiteY26" fmla="*/ 6477 h 754244"/>
                <a:gd name="connsiteX27" fmla="*/ 329392 w 660245"/>
                <a:gd name="connsiteY27" fmla="*/ 0 h 75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60245" h="754244">
                  <a:moveTo>
                    <a:pt x="329392" y="0"/>
                  </a:moveTo>
                  <a:lnTo>
                    <a:pt x="457730" y="6481"/>
                  </a:lnTo>
                  <a:cubicBezTo>
                    <a:pt x="500317" y="10806"/>
                    <a:pt x="542281" y="17240"/>
                    <a:pt x="583515" y="25678"/>
                  </a:cubicBezTo>
                  <a:lnTo>
                    <a:pt x="611730" y="32933"/>
                  </a:lnTo>
                  <a:lnTo>
                    <a:pt x="634539" y="121626"/>
                  </a:lnTo>
                  <a:lnTo>
                    <a:pt x="651150" y="230457"/>
                  </a:lnTo>
                  <a:lnTo>
                    <a:pt x="653728" y="247364"/>
                  </a:lnTo>
                  <a:lnTo>
                    <a:pt x="660245" y="376562"/>
                  </a:lnTo>
                  <a:lnTo>
                    <a:pt x="653725" y="505676"/>
                  </a:lnTo>
                  <a:cubicBezTo>
                    <a:pt x="649401" y="548263"/>
                    <a:pt x="642966" y="590227"/>
                    <a:pt x="634528" y="631461"/>
                  </a:cubicBezTo>
                  <a:lnTo>
                    <a:pt x="611347" y="721617"/>
                  </a:lnTo>
                  <a:lnTo>
                    <a:pt x="584453" y="728535"/>
                  </a:lnTo>
                  <a:cubicBezTo>
                    <a:pt x="543223" y="736975"/>
                    <a:pt x="501263" y="743412"/>
                    <a:pt x="458679" y="747738"/>
                  </a:cubicBezTo>
                  <a:lnTo>
                    <a:pt x="329882" y="754244"/>
                  </a:lnTo>
                  <a:lnTo>
                    <a:pt x="201102" y="747734"/>
                  </a:lnTo>
                  <a:cubicBezTo>
                    <a:pt x="158531" y="743406"/>
                    <a:pt x="116582" y="736968"/>
                    <a:pt x="75363" y="728524"/>
                  </a:cubicBezTo>
                  <a:lnTo>
                    <a:pt x="48925" y="721720"/>
                  </a:lnTo>
                  <a:lnTo>
                    <a:pt x="25717" y="631461"/>
                  </a:lnTo>
                  <a:cubicBezTo>
                    <a:pt x="17279" y="590227"/>
                    <a:pt x="10845" y="548263"/>
                    <a:pt x="6520" y="505676"/>
                  </a:cubicBezTo>
                  <a:lnTo>
                    <a:pt x="0" y="376562"/>
                  </a:lnTo>
                  <a:lnTo>
                    <a:pt x="6486" y="247973"/>
                  </a:lnTo>
                  <a:lnTo>
                    <a:pt x="6517" y="247364"/>
                  </a:lnTo>
                  <a:lnTo>
                    <a:pt x="8131" y="236777"/>
                  </a:lnTo>
                  <a:lnTo>
                    <a:pt x="25708" y="121626"/>
                  </a:lnTo>
                  <a:lnTo>
                    <a:pt x="48617" y="32541"/>
                  </a:lnTo>
                  <a:lnTo>
                    <a:pt x="75363" y="25665"/>
                  </a:lnTo>
                  <a:cubicBezTo>
                    <a:pt x="116582" y="17232"/>
                    <a:pt x="158531" y="10800"/>
                    <a:pt x="201102" y="6477"/>
                  </a:cubicBezTo>
                  <a:lnTo>
                    <a:pt x="329392" y="0"/>
                  </a:lnTo>
                  <a:close/>
                </a:path>
              </a:pathLst>
            </a:custGeom>
            <a:solidFill>
              <a:schemeClr val="accent6"/>
            </a:solidFill>
            <a:ln w="6350" cap="sq">
              <a:solidFill>
                <a:schemeClr val="accent6">
                  <a:lumMod val="5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0420CD6F-B42D-9301-1F1D-A75C2DD30169}"/>
                </a:ext>
              </a:extLst>
            </p:cNvPr>
            <p:cNvSpPr/>
            <p:nvPr/>
          </p:nvSpPr>
          <p:spPr>
            <a:xfrm>
              <a:off x="2799409" y="3216692"/>
              <a:ext cx="219" cy="317"/>
            </a:xfrm>
            <a:custGeom>
              <a:avLst/>
              <a:gdLst>
                <a:gd name="connsiteX0" fmla="*/ 219 w 219"/>
                <a:gd name="connsiteY0" fmla="*/ 0 h 317"/>
                <a:gd name="connsiteX1" fmla="*/ 147 w 219"/>
                <a:gd name="connsiteY1" fmla="*/ 280 h 317"/>
                <a:gd name="connsiteX2" fmla="*/ 0 w 219"/>
                <a:gd name="connsiteY2" fmla="*/ 317 h 317"/>
                <a:gd name="connsiteX3" fmla="*/ 72 w 219"/>
                <a:gd name="connsiteY3" fmla="*/ 37 h 317"/>
                <a:gd name="connsiteX4" fmla="*/ 219 w 219"/>
                <a:gd name="connsiteY4" fmla="*/ 0 h 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" h="317">
                  <a:moveTo>
                    <a:pt x="219" y="0"/>
                  </a:moveTo>
                  <a:lnTo>
                    <a:pt x="147" y="280"/>
                  </a:lnTo>
                  <a:lnTo>
                    <a:pt x="0" y="317"/>
                  </a:lnTo>
                  <a:lnTo>
                    <a:pt x="72" y="37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5765279A-1AE9-44CD-5F70-69CDC0D20F37}"/>
                </a:ext>
              </a:extLst>
            </p:cNvPr>
            <p:cNvSpPr/>
            <p:nvPr/>
          </p:nvSpPr>
          <p:spPr>
            <a:xfrm>
              <a:off x="2179328" y="3217008"/>
              <a:ext cx="620081" cy="344680"/>
            </a:xfrm>
            <a:custGeom>
              <a:avLst/>
              <a:gdLst>
                <a:gd name="connsiteX0" fmla="*/ 620081 w 620081"/>
                <a:gd name="connsiteY0" fmla="*/ 0 h 344680"/>
                <a:gd name="connsiteX1" fmla="*/ 620048 w 620081"/>
                <a:gd name="connsiteY1" fmla="*/ 132 h 344680"/>
                <a:gd name="connsiteX2" fmla="*/ 524659 w 620081"/>
                <a:gd name="connsiteY2" fmla="*/ 24655 h 344680"/>
                <a:gd name="connsiteX3" fmla="*/ 5779 w 620081"/>
                <a:gd name="connsiteY3" fmla="*/ 338585 h 344680"/>
                <a:gd name="connsiteX4" fmla="*/ 239 w 620081"/>
                <a:gd name="connsiteY4" fmla="*/ 344680 h 344680"/>
                <a:gd name="connsiteX5" fmla="*/ 0 w 620081"/>
                <a:gd name="connsiteY5" fmla="*/ 344418 h 344680"/>
                <a:gd name="connsiteX6" fmla="*/ 5026 w 620081"/>
                <a:gd name="connsiteY6" fmla="*/ 338885 h 344680"/>
                <a:gd name="connsiteX7" fmla="*/ 524053 w 620081"/>
                <a:gd name="connsiteY7" fmla="*/ 24701 h 344680"/>
                <a:gd name="connsiteX8" fmla="*/ 620081 w 620081"/>
                <a:gd name="connsiteY8" fmla="*/ 0 h 34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0081" h="344680">
                  <a:moveTo>
                    <a:pt x="620081" y="0"/>
                  </a:moveTo>
                  <a:lnTo>
                    <a:pt x="620048" y="132"/>
                  </a:lnTo>
                  <a:lnTo>
                    <a:pt x="524659" y="24655"/>
                  </a:lnTo>
                  <a:cubicBezTo>
                    <a:pt x="326390" y="86314"/>
                    <a:pt x="149009" y="195377"/>
                    <a:pt x="5779" y="338585"/>
                  </a:cubicBezTo>
                  <a:lnTo>
                    <a:pt x="239" y="344680"/>
                  </a:lnTo>
                  <a:lnTo>
                    <a:pt x="0" y="344418"/>
                  </a:lnTo>
                  <a:lnTo>
                    <a:pt x="5026" y="338885"/>
                  </a:lnTo>
                  <a:cubicBezTo>
                    <a:pt x="148297" y="195561"/>
                    <a:pt x="325728" y="86410"/>
                    <a:pt x="524053" y="24701"/>
                  </a:cubicBezTo>
                  <a:lnTo>
                    <a:pt x="620081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CC300C81-E9FB-0094-F728-D30E4A198936}"/>
                </a:ext>
              </a:extLst>
            </p:cNvPr>
            <p:cNvSpPr/>
            <p:nvPr/>
          </p:nvSpPr>
          <p:spPr>
            <a:xfrm>
              <a:off x="2750883" y="3217102"/>
              <a:ext cx="48639" cy="344174"/>
            </a:xfrm>
            <a:custGeom>
              <a:avLst/>
              <a:gdLst>
                <a:gd name="connsiteX0" fmla="*/ 48639 w 48639"/>
                <a:gd name="connsiteY0" fmla="*/ 0 h 344174"/>
                <a:gd name="connsiteX1" fmla="*/ 25728 w 48639"/>
                <a:gd name="connsiteY1" fmla="*/ 89193 h 344174"/>
                <a:gd name="connsiteX2" fmla="*/ 8152 w 48639"/>
                <a:gd name="connsiteY2" fmla="*/ 204473 h 344174"/>
                <a:gd name="connsiteX3" fmla="*/ 6539 w 48639"/>
                <a:gd name="connsiteY3" fmla="*/ 215041 h 344174"/>
                <a:gd name="connsiteX4" fmla="*/ 6538 w 48639"/>
                <a:gd name="connsiteY4" fmla="*/ 215060 h 344174"/>
                <a:gd name="connsiteX5" fmla="*/ 6538 w 48639"/>
                <a:gd name="connsiteY5" fmla="*/ 215060 h 344174"/>
                <a:gd name="connsiteX6" fmla="*/ 6507 w 48639"/>
                <a:gd name="connsiteY6" fmla="*/ 215669 h 344174"/>
                <a:gd name="connsiteX7" fmla="*/ 17 w 48639"/>
                <a:gd name="connsiteY7" fmla="*/ 344174 h 344174"/>
                <a:gd name="connsiteX8" fmla="*/ 0 w 48639"/>
                <a:gd name="connsiteY8" fmla="*/ 343846 h 344174"/>
                <a:gd name="connsiteX9" fmla="*/ 25738 w 48639"/>
                <a:gd name="connsiteY9" fmla="*/ 88535 h 344174"/>
                <a:gd name="connsiteX10" fmla="*/ 48493 w 48639"/>
                <a:gd name="connsiteY10" fmla="*/ 38 h 344174"/>
                <a:gd name="connsiteX11" fmla="*/ 48639 w 48639"/>
                <a:gd name="connsiteY11" fmla="*/ 0 h 344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639" h="344174">
                  <a:moveTo>
                    <a:pt x="48639" y="0"/>
                  </a:moveTo>
                  <a:lnTo>
                    <a:pt x="25728" y="89193"/>
                  </a:lnTo>
                  <a:lnTo>
                    <a:pt x="8152" y="204473"/>
                  </a:lnTo>
                  <a:lnTo>
                    <a:pt x="6539" y="215041"/>
                  </a:lnTo>
                  <a:lnTo>
                    <a:pt x="6538" y="215060"/>
                  </a:lnTo>
                  <a:lnTo>
                    <a:pt x="6538" y="215060"/>
                  </a:lnTo>
                  <a:lnTo>
                    <a:pt x="6507" y="215669"/>
                  </a:lnTo>
                  <a:lnTo>
                    <a:pt x="17" y="344174"/>
                  </a:lnTo>
                  <a:lnTo>
                    <a:pt x="0" y="343846"/>
                  </a:lnTo>
                  <a:cubicBezTo>
                    <a:pt x="0" y="256390"/>
                    <a:pt x="8862" y="171003"/>
                    <a:pt x="25738" y="88535"/>
                  </a:cubicBezTo>
                  <a:lnTo>
                    <a:pt x="48493" y="38"/>
                  </a:lnTo>
                  <a:lnTo>
                    <a:pt x="48639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61A43D8A-652F-F500-BF20-F95F5137966D}"/>
                </a:ext>
              </a:extLst>
            </p:cNvPr>
            <p:cNvSpPr/>
            <p:nvPr/>
          </p:nvSpPr>
          <p:spPr>
            <a:xfrm>
              <a:off x="3362531" y="3217103"/>
              <a:ext cx="249" cy="435"/>
            </a:xfrm>
            <a:custGeom>
              <a:avLst/>
              <a:gdLst>
                <a:gd name="connsiteX0" fmla="*/ 0 w 249"/>
                <a:gd name="connsiteY0" fmla="*/ 0 h 435"/>
                <a:gd name="connsiteX1" fmla="*/ 147 w 249"/>
                <a:gd name="connsiteY1" fmla="*/ 38 h 435"/>
                <a:gd name="connsiteX2" fmla="*/ 249 w 249"/>
                <a:gd name="connsiteY2" fmla="*/ 435 h 435"/>
                <a:gd name="connsiteX3" fmla="*/ 102 w 249"/>
                <a:gd name="connsiteY3" fmla="*/ 397 h 435"/>
                <a:gd name="connsiteX4" fmla="*/ 0 w 249"/>
                <a:gd name="connsiteY4" fmla="*/ 0 h 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" h="435">
                  <a:moveTo>
                    <a:pt x="0" y="0"/>
                  </a:moveTo>
                  <a:lnTo>
                    <a:pt x="147" y="38"/>
                  </a:lnTo>
                  <a:lnTo>
                    <a:pt x="249" y="435"/>
                  </a:lnTo>
                  <a:lnTo>
                    <a:pt x="102" y="3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5827DB2E-0557-4038-04C9-B038F594A2A2}"/>
                </a:ext>
              </a:extLst>
            </p:cNvPr>
            <p:cNvSpPr/>
            <p:nvPr/>
          </p:nvSpPr>
          <p:spPr>
            <a:xfrm>
              <a:off x="3362570" y="3217483"/>
              <a:ext cx="127" cy="264"/>
            </a:xfrm>
            <a:custGeom>
              <a:avLst/>
              <a:gdLst>
                <a:gd name="connsiteX0" fmla="*/ 0 w 127"/>
                <a:gd name="connsiteY0" fmla="*/ 0 h 264"/>
                <a:gd name="connsiteX1" fmla="*/ 63 w 127"/>
                <a:gd name="connsiteY1" fmla="*/ 16 h 264"/>
                <a:gd name="connsiteX2" fmla="*/ 127 w 127"/>
                <a:gd name="connsiteY2" fmla="*/ 264 h 264"/>
                <a:gd name="connsiteX3" fmla="*/ 64 w 127"/>
                <a:gd name="connsiteY3" fmla="*/ 248 h 264"/>
                <a:gd name="connsiteX4" fmla="*/ 0 w 127"/>
                <a:gd name="connsiteY4" fmla="*/ 0 h 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" h="264">
                  <a:moveTo>
                    <a:pt x="0" y="0"/>
                  </a:moveTo>
                  <a:lnTo>
                    <a:pt x="63" y="16"/>
                  </a:lnTo>
                  <a:lnTo>
                    <a:pt x="127" y="264"/>
                  </a:lnTo>
                  <a:lnTo>
                    <a:pt x="64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91EA3E9A-5FB6-C560-BE76-74F4CA203AB8}"/>
                </a:ext>
              </a:extLst>
            </p:cNvPr>
            <p:cNvSpPr/>
            <p:nvPr/>
          </p:nvSpPr>
          <p:spPr>
            <a:xfrm>
              <a:off x="3362780" y="3217537"/>
              <a:ext cx="618465" cy="344804"/>
            </a:xfrm>
            <a:custGeom>
              <a:avLst/>
              <a:gdLst>
                <a:gd name="connsiteX0" fmla="*/ 0 w 618465"/>
                <a:gd name="connsiteY0" fmla="*/ 0 h 344804"/>
                <a:gd name="connsiteX1" fmla="*/ 93974 w 618465"/>
                <a:gd name="connsiteY1" fmla="*/ 24172 h 344804"/>
                <a:gd name="connsiteX2" fmla="*/ 613001 w 618465"/>
                <a:gd name="connsiteY2" fmla="*/ 338356 h 344804"/>
                <a:gd name="connsiteX3" fmla="*/ 618465 w 618465"/>
                <a:gd name="connsiteY3" fmla="*/ 344372 h 344804"/>
                <a:gd name="connsiteX4" fmla="*/ 618073 w 618465"/>
                <a:gd name="connsiteY4" fmla="*/ 344804 h 344804"/>
                <a:gd name="connsiteX5" fmla="*/ 612113 w 618465"/>
                <a:gd name="connsiteY5" fmla="*/ 338247 h 344804"/>
                <a:gd name="connsiteX6" fmla="*/ 93045 w 618465"/>
                <a:gd name="connsiteY6" fmla="*/ 24155 h 344804"/>
                <a:gd name="connsiteX7" fmla="*/ 63 w 618465"/>
                <a:gd name="connsiteY7" fmla="*/ 248 h 344804"/>
                <a:gd name="connsiteX8" fmla="*/ 0 w 618465"/>
                <a:gd name="connsiteY8" fmla="*/ 0 h 34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8465" h="344804">
                  <a:moveTo>
                    <a:pt x="0" y="0"/>
                  </a:moveTo>
                  <a:lnTo>
                    <a:pt x="93974" y="24172"/>
                  </a:lnTo>
                  <a:cubicBezTo>
                    <a:pt x="292300" y="85881"/>
                    <a:pt x="469731" y="195032"/>
                    <a:pt x="613001" y="338356"/>
                  </a:cubicBezTo>
                  <a:lnTo>
                    <a:pt x="618465" y="344372"/>
                  </a:lnTo>
                  <a:lnTo>
                    <a:pt x="618073" y="344804"/>
                  </a:lnTo>
                  <a:lnTo>
                    <a:pt x="612113" y="338247"/>
                  </a:lnTo>
                  <a:cubicBezTo>
                    <a:pt x="468831" y="194965"/>
                    <a:pt x="291386" y="85846"/>
                    <a:pt x="93045" y="24155"/>
                  </a:cubicBezTo>
                  <a:lnTo>
                    <a:pt x="63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90D11A6-809A-4411-E160-D637D6BCDF2A}"/>
                </a:ext>
              </a:extLst>
            </p:cNvPr>
            <p:cNvSpPr/>
            <p:nvPr/>
          </p:nvSpPr>
          <p:spPr>
            <a:xfrm>
              <a:off x="3362697" y="3217748"/>
              <a:ext cx="48473" cy="343529"/>
            </a:xfrm>
            <a:custGeom>
              <a:avLst/>
              <a:gdLst>
                <a:gd name="connsiteX0" fmla="*/ 0 w 48473"/>
                <a:gd name="connsiteY0" fmla="*/ 0 h 343529"/>
                <a:gd name="connsiteX1" fmla="*/ 146 w 48473"/>
                <a:gd name="connsiteY1" fmla="*/ 38 h 343529"/>
                <a:gd name="connsiteX2" fmla="*/ 22735 w 48473"/>
                <a:gd name="connsiteY2" fmla="*/ 87890 h 343529"/>
                <a:gd name="connsiteX3" fmla="*/ 48473 w 48473"/>
                <a:gd name="connsiteY3" fmla="*/ 343201 h 343529"/>
                <a:gd name="connsiteX4" fmla="*/ 48457 w 48473"/>
                <a:gd name="connsiteY4" fmla="*/ 343529 h 343529"/>
                <a:gd name="connsiteX5" fmla="*/ 41935 w 48473"/>
                <a:gd name="connsiteY5" fmla="*/ 214396 h 343529"/>
                <a:gd name="connsiteX6" fmla="*/ 39357 w 48473"/>
                <a:gd name="connsiteY6" fmla="*/ 197508 h 343529"/>
                <a:gd name="connsiteX7" fmla="*/ 22745 w 48473"/>
                <a:gd name="connsiteY7" fmla="*/ 88548 h 343529"/>
                <a:gd name="connsiteX8" fmla="*/ 0 w 48473"/>
                <a:gd name="connsiteY8" fmla="*/ 0 h 343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473" h="343529">
                  <a:moveTo>
                    <a:pt x="0" y="0"/>
                  </a:moveTo>
                  <a:lnTo>
                    <a:pt x="146" y="38"/>
                  </a:lnTo>
                  <a:lnTo>
                    <a:pt x="22735" y="87890"/>
                  </a:lnTo>
                  <a:cubicBezTo>
                    <a:pt x="39611" y="170358"/>
                    <a:pt x="48473" y="255745"/>
                    <a:pt x="48473" y="343201"/>
                  </a:cubicBezTo>
                  <a:lnTo>
                    <a:pt x="48457" y="343529"/>
                  </a:lnTo>
                  <a:lnTo>
                    <a:pt x="41935" y="214396"/>
                  </a:lnTo>
                  <a:lnTo>
                    <a:pt x="39357" y="197508"/>
                  </a:lnTo>
                  <a:lnTo>
                    <a:pt x="22745" y="885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2D444436-FEB3-55E3-CF19-CF645C5ABBCC}"/>
                </a:ext>
              </a:extLst>
            </p:cNvPr>
            <p:cNvSpPr/>
            <p:nvPr/>
          </p:nvSpPr>
          <p:spPr>
            <a:xfrm>
              <a:off x="2178717" y="3560803"/>
              <a:ext cx="611" cy="673"/>
            </a:xfrm>
            <a:custGeom>
              <a:avLst/>
              <a:gdLst>
                <a:gd name="connsiteX0" fmla="*/ 45 w 611"/>
                <a:gd name="connsiteY0" fmla="*/ 0 h 673"/>
                <a:gd name="connsiteX1" fmla="*/ 611 w 611"/>
                <a:gd name="connsiteY1" fmla="*/ 624 h 673"/>
                <a:gd name="connsiteX2" fmla="*/ 566 w 611"/>
                <a:gd name="connsiteY2" fmla="*/ 673 h 673"/>
                <a:gd name="connsiteX3" fmla="*/ 0 w 611"/>
                <a:gd name="connsiteY3" fmla="*/ 50 h 673"/>
                <a:gd name="connsiteX4" fmla="*/ 45 w 611"/>
                <a:gd name="connsiteY4" fmla="*/ 0 h 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1" h="673">
                  <a:moveTo>
                    <a:pt x="45" y="0"/>
                  </a:moveTo>
                  <a:lnTo>
                    <a:pt x="611" y="624"/>
                  </a:lnTo>
                  <a:lnTo>
                    <a:pt x="566" y="673"/>
                  </a:lnTo>
                  <a:lnTo>
                    <a:pt x="0" y="5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DC4A6AF5-A4A8-216D-A89B-3473203E9A70}"/>
                </a:ext>
              </a:extLst>
            </p:cNvPr>
            <p:cNvSpPr/>
            <p:nvPr/>
          </p:nvSpPr>
          <p:spPr>
            <a:xfrm>
              <a:off x="2178889" y="3561475"/>
              <a:ext cx="633" cy="696"/>
            </a:xfrm>
            <a:custGeom>
              <a:avLst/>
              <a:gdLst>
                <a:gd name="connsiteX0" fmla="*/ 394 w 633"/>
                <a:gd name="connsiteY0" fmla="*/ 0 h 696"/>
                <a:gd name="connsiteX1" fmla="*/ 633 w 633"/>
                <a:gd name="connsiteY1" fmla="*/ 263 h 696"/>
                <a:gd name="connsiteX2" fmla="*/ 238 w 633"/>
                <a:gd name="connsiteY2" fmla="*/ 696 h 696"/>
                <a:gd name="connsiteX3" fmla="*/ 0 w 633"/>
                <a:gd name="connsiteY3" fmla="*/ 434 h 696"/>
                <a:gd name="connsiteX4" fmla="*/ 394 w 633"/>
                <a:gd name="connsiteY4" fmla="*/ 0 h 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3" h="696">
                  <a:moveTo>
                    <a:pt x="394" y="0"/>
                  </a:moveTo>
                  <a:lnTo>
                    <a:pt x="633" y="263"/>
                  </a:lnTo>
                  <a:lnTo>
                    <a:pt x="238" y="696"/>
                  </a:lnTo>
                  <a:lnTo>
                    <a:pt x="0" y="434"/>
                  </a:lnTo>
                  <a:lnTo>
                    <a:pt x="394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E3D991A8-A477-38C2-289F-E504DB4CA943}"/>
                </a:ext>
              </a:extLst>
            </p:cNvPr>
            <p:cNvSpPr/>
            <p:nvPr/>
          </p:nvSpPr>
          <p:spPr>
            <a:xfrm>
              <a:off x="2750882" y="3561689"/>
              <a:ext cx="48796" cy="344791"/>
            </a:xfrm>
            <a:custGeom>
              <a:avLst/>
              <a:gdLst>
                <a:gd name="connsiteX0" fmla="*/ 4 w 48796"/>
                <a:gd name="connsiteY0" fmla="*/ 0 h 344791"/>
                <a:gd name="connsiteX1" fmla="*/ 6538 w 48796"/>
                <a:gd name="connsiteY1" fmla="*/ 129374 h 344791"/>
                <a:gd name="connsiteX2" fmla="*/ 25728 w 48796"/>
                <a:gd name="connsiteY2" fmla="*/ 255093 h 344791"/>
                <a:gd name="connsiteX3" fmla="*/ 48796 w 48796"/>
                <a:gd name="connsiteY3" fmla="*/ 344791 h 344791"/>
                <a:gd name="connsiteX4" fmla="*/ 48639 w 48796"/>
                <a:gd name="connsiteY4" fmla="*/ 344751 h 344791"/>
                <a:gd name="connsiteX5" fmla="*/ 25729 w 48796"/>
                <a:gd name="connsiteY5" fmla="*/ 255560 h 344791"/>
                <a:gd name="connsiteX6" fmla="*/ 0 w 48796"/>
                <a:gd name="connsiteY6" fmla="*/ 84 h 344791"/>
                <a:gd name="connsiteX7" fmla="*/ 4 w 48796"/>
                <a:gd name="connsiteY7" fmla="*/ 0 h 34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796" h="344791">
                  <a:moveTo>
                    <a:pt x="4" y="0"/>
                  </a:moveTo>
                  <a:lnTo>
                    <a:pt x="6538" y="129374"/>
                  </a:lnTo>
                  <a:cubicBezTo>
                    <a:pt x="10862" y="171939"/>
                    <a:pt x="17294" y="213881"/>
                    <a:pt x="25728" y="255093"/>
                  </a:cubicBezTo>
                  <a:lnTo>
                    <a:pt x="48796" y="344791"/>
                  </a:lnTo>
                  <a:lnTo>
                    <a:pt x="48639" y="344751"/>
                  </a:lnTo>
                  <a:lnTo>
                    <a:pt x="25729" y="255560"/>
                  </a:lnTo>
                  <a:cubicBezTo>
                    <a:pt x="8860" y="173039"/>
                    <a:pt x="0" y="87597"/>
                    <a:pt x="0" y="84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2D08D794-A6F1-042E-4071-58007F1CA58C}"/>
                </a:ext>
              </a:extLst>
            </p:cNvPr>
            <p:cNvSpPr/>
            <p:nvPr/>
          </p:nvSpPr>
          <p:spPr>
            <a:xfrm>
              <a:off x="3362401" y="3561689"/>
              <a:ext cx="48769" cy="344689"/>
            </a:xfrm>
            <a:custGeom>
              <a:avLst/>
              <a:gdLst>
                <a:gd name="connsiteX0" fmla="*/ 48765 w 48769"/>
                <a:gd name="connsiteY0" fmla="*/ 0 h 344689"/>
                <a:gd name="connsiteX1" fmla="*/ 48769 w 48769"/>
                <a:gd name="connsiteY1" fmla="*/ 84 h 344689"/>
                <a:gd name="connsiteX2" fmla="*/ 23042 w 48769"/>
                <a:gd name="connsiteY2" fmla="*/ 255560 h 344689"/>
                <a:gd name="connsiteX3" fmla="*/ 158 w 48769"/>
                <a:gd name="connsiteY3" fmla="*/ 344648 h 344689"/>
                <a:gd name="connsiteX4" fmla="*/ 0 w 48769"/>
                <a:gd name="connsiteY4" fmla="*/ 344689 h 344689"/>
                <a:gd name="connsiteX5" fmla="*/ 23041 w 48769"/>
                <a:gd name="connsiteY5" fmla="*/ 255093 h 344689"/>
                <a:gd name="connsiteX6" fmla="*/ 42231 w 48769"/>
                <a:gd name="connsiteY6" fmla="*/ 129374 h 344689"/>
                <a:gd name="connsiteX7" fmla="*/ 48765 w 48769"/>
                <a:gd name="connsiteY7" fmla="*/ 0 h 344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769" h="344689">
                  <a:moveTo>
                    <a:pt x="48765" y="0"/>
                  </a:moveTo>
                  <a:lnTo>
                    <a:pt x="48769" y="84"/>
                  </a:lnTo>
                  <a:cubicBezTo>
                    <a:pt x="48769" y="87597"/>
                    <a:pt x="39911" y="173039"/>
                    <a:pt x="23042" y="255560"/>
                  </a:cubicBezTo>
                  <a:lnTo>
                    <a:pt x="158" y="344648"/>
                  </a:lnTo>
                  <a:lnTo>
                    <a:pt x="0" y="344689"/>
                  </a:lnTo>
                  <a:lnTo>
                    <a:pt x="23041" y="255093"/>
                  </a:lnTo>
                  <a:cubicBezTo>
                    <a:pt x="31476" y="213881"/>
                    <a:pt x="37908" y="171939"/>
                    <a:pt x="42231" y="129374"/>
                  </a:cubicBezTo>
                  <a:lnTo>
                    <a:pt x="48765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5E2A135C-7D02-370F-B82C-F8729A57D03E}"/>
                </a:ext>
              </a:extLst>
            </p:cNvPr>
            <p:cNvSpPr/>
            <p:nvPr/>
          </p:nvSpPr>
          <p:spPr>
            <a:xfrm>
              <a:off x="2179522" y="3561689"/>
              <a:ext cx="178477" cy="150019"/>
            </a:xfrm>
            <a:custGeom>
              <a:avLst/>
              <a:gdLst>
                <a:gd name="connsiteX0" fmla="*/ 45 w 178477"/>
                <a:gd name="connsiteY0" fmla="*/ 0 h 150019"/>
                <a:gd name="connsiteX1" fmla="*/ 5585 w 178477"/>
                <a:gd name="connsiteY1" fmla="*/ 6102 h 150019"/>
                <a:gd name="connsiteX2" fmla="*/ 95515 w 178477"/>
                <a:gd name="connsiteY2" fmla="*/ 87918 h 150019"/>
                <a:gd name="connsiteX3" fmla="*/ 178477 w 178477"/>
                <a:gd name="connsiteY3" fmla="*/ 150019 h 150019"/>
                <a:gd name="connsiteX4" fmla="*/ 95682 w 178477"/>
                <a:gd name="connsiteY4" fmla="*/ 88106 h 150019"/>
                <a:gd name="connsiteX5" fmla="*/ 5719 w 178477"/>
                <a:gd name="connsiteY5" fmla="*/ 6343 h 150019"/>
                <a:gd name="connsiteX6" fmla="*/ 0 w 178477"/>
                <a:gd name="connsiteY6" fmla="*/ 50 h 150019"/>
                <a:gd name="connsiteX7" fmla="*/ 45 w 178477"/>
                <a:gd name="connsiteY7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477" h="150019">
                  <a:moveTo>
                    <a:pt x="45" y="0"/>
                  </a:moveTo>
                  <a:lnTo>
                    <a:pt x="5585" y="6102"/>
                  </a:lnTo>
                  <a:cubicBezTo>
                    <a:pt x="34231" y="34777"/>
                    <a:pt x="64243" y="62085"/>
                    <a:pt x="95515" y="87918"/>
                  </a:cubicBezTo>
                  <a:lnTo>
                    <a:pt x="178477" y="150019"/>
                  </a:lnTo>
                  <a:lnTo>
                    <a:pt x="95682" y="88106"/>
                  </a:lnTo>
                  <a:cubicBezTo>
                    <a:pt x="64399" y="62289"/>
                    <a:pt x="34376" y="34999"/>
                    <a:pt x="5719" y="6343"/>
                  </a:cubicBezTo>
                  <a:lnTo>
                    <a:pt x="0" y="5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C3C64186-3275-6640-C3F0-676F46C4252C}"/>
                </a:ext>
              </a:extLst>
            </p:cNvPr>
            <p:cNvSpPr/>
            <p:nvPr/>
          </p:nvSpPr>
          <p:spPr>
            <a:xfrm>
              <a:off x="3981372" y="3561689"/>
              <a:ext cx="1158" cy="1275"/>
            </a:xfrm>
            <a:custGeom>
              <a:avLst/>
              <a:gdLst>
                <a:gd name="connsiteX0" fmla="*/ 1113 w 1158"/>
                <a:gd name="connsiteY0" fmla="*/ 0 h 1275"/>
                <a:gd name="connsiteX1" fmla="*/ 1158 w 1158"/>
                <a:gd name="connsiteY1" fmla="*/ 49 h 1275"/>
                <a:gd name="connsiteX2" fmla="*/ 44 w 1158"/>
                <a:gd name="connsiteY2" fmla="*/ 1275 h 1275"/>
                <a:gd name="connsiteX3" fmla="*/ 0 w 1158"/>
                <a:gd name="connsiteY3" fmla="*/ 1226 h 1275"/>
                <a:gd name="connsiteX4" fmla="*/ 1113 w 1158"/>
                <a:gd name="connsiteY4" fmla="*/ 0 h 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8" h="1275">
                  <a:moveTo>
                    <a:pt x="1113" y="0"/>
                  </a:moveTo>
                  <a:lnTo>
                    <a:pt x="1158" y="49"/>
                  </a:lnTo>
                  <a:lnTo>
                    <a:pt x="44" y="1275"/>
                  </a:lnTo>
                  <a:lnTo>
                    <a:pt x="0" y="1226"/>
                  </a:lnTo>
                  <a:lnTo>
                    <a:pt x="1113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9CE2471C-97F2-EFA2-0125-3CB67C558EAB}"/>
                </a:ext>
              </a:extLst>
            </p:cNvPr>
            <p:cNvSpPr/>
            <p:nvPr/>
          </p:nvSpPr>
          <p:spPr>
            <a:xfrm>
              <a:off x="1814194" y="3562171"/>
              <a:ext cx="1266674" cy="1265597"/>
            </a:xfrm>
            <a:custGeom>
              <a:avLst/>
              <a:gdLst>
                <a:gd name="connsiteX0" fmla="*/ 364932 w 1266674"/>
                <a:gd name="connsiteY0" fmla="*/ 0 h 1265597"/>
                <a:gd name="connsiteX1" fmla="*/ 370159 w 1266674"/>
                <a:gd name="connsiteY1" fmla="*/ 5752 h 1265597"/>
                <a:gd name="connsiteX2" fmla="*/ 889186 w 1266674"/>
                <a:gd name="connsiteY2" fmla="*/ 319936 h 1265597"/>
                <a:gd name="connsiteX3" fmla="*/ 985593 w 1266674"/>
                <a:gd name="connsiteY3" fmla="*/ 344734 h 1265597"/>
                <a:gd name="connsiteX4" fmla="*/ 993622 w 1266674"/>
                <a:gd name="connsiteY4" fmla="*/ 375954 h 1265597"/>
                <a:gd name="connsiteX5" fmla="*/ 1225866 w 1266674"/>
                <a:gd name="connsiteY5" fmla="*/ 804837 h 1265597"/>
                <a:gd name="connsiteX6" fmla="*/ 1266674 w 1266674"/>
                <a:gd name="connsiteY6" fmla="*/ 849731 h 1265597"/>
                <a:gd name="connsiteX7" fmla="*/ 1225929 w 1266674"/>
                <a:gd name="connsiteY7" fmla="*/ 894562 h 1265597"/>
                <a:gd name="connsiteX8" fmla="*/ 459670 w 1266674"/>
                <a:gd name="connsiteY8" fmla="*/ 1259067 h 1265597"/>
                <a:gd name="connsiteX9" fmla="*/ 330373 w 1266674"/>
                <a:gd name="connsiteY9" fmla="*/ 1265597 h 1265597"/>
                <a:gd name="connsiteX10" fmla="*/ 201124 w 1266674"/>
                <a:gd name="connsiteY10" fmla="*/ 1259071 h 1265597"/>
                <a:gd name="connsiteX11" fmla="*/ 75385 w 1266674"/>
                <a:gd name="connsiteY11" fmla="*/ 1239883 h 1265597"/>
                <a:gd name="connsiteX12" fmla="*/ 48638 w 1266674"/>
                <a:gd name="connsiteY12" fmla="*/ 1233007 h 1265597"/>
                <a:gd name="connsiteX13" fmla="*/ 25729 w 1266674"/>
                <a:gd name="connsiteY13" fmla="*/ 1143922 h 1265597"/>
                <a:gd name="connsiteX14" fmla="*/ 0 w 1266674"/>
                <a:gd name="connsiteY14" fmla="*/ 888744 h 1265597"/>
                <a:gd name="connsiteX15" fmla="*/ 289178 w 1266674"/>
                <a:gd name="connsiteY15" fmla="*/ 83338 h 1265597"/>
                <a:gd name="connsiteX16" fmla="*/ 364932 w 1266674"/>
                <a:gd name="connsiteY16" fmla="*/ 0 h 1265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6674" h="1265597">
                  <a:moveTo>
                    <a:pt x="364932" y="0"/>
                  </a:moveTo>
                  <a:lnTo>
                    <a:pt x="370159" y="5752"/>
                  </a:lnTo>
                  <a:cubicBezTo>
                    <a:pt x="513430" y="149077"/>
                    <a:pt x="690861" y="258228"/>
                    <a:pt x="889186" y="319936"/>
                  </a:cubicBezTo>
                  <a:lnTo>
                    <a:pt x="985593" y="344734"/>
                  </a:lnTo>
                  <a:lnTo>
                    <a:pt x="993622" y="375954"/>
                  </a:lnTo>
                  <a:cubicBezTo>
                    <a:pt x="1042956" y="534545"/>
                    <a:pt x="1122635" y="679769"/>
                    <a:pt x="1225866" y="804837"/>
                  </a:cubicBezTo>
                  <a:lnTo>
                    <a:pt x="1266674" y="849731"/>
                  </a:lnTo>
                  <a:lnTo>
                    <a:pt x="1225929" y="894562"/>
                  </a:lnTo>
                  <a:cubicBezTo>
                    <a:pt x="1025334" y="1095157"/>
                    <a:pt x="757780" y="1228793"/>
                    <a:pt x="459670" y="1259067"/>
                  </a:cubicBezTo>
                  <a:lnTo>
                    <a:pt x="330373" y="1265597"/>
                  </a:lnTo>
                  <a:lnTo>
                    <a:pt x="201124" y="1259071"/>
                  </a:lnTo>
                  <a:cubicBezTo>
                    <a:pt x="158552" y="1254748"/>
                    <a:pt x="116604" y="1248317"/>
                    <a:pt x="75385" y="1239883"/>
                  </a:cubicBezTo>
                  <a:lnTo>
                    <a:pt x="48638" y="1233007"/>
                  </a:lnTo>
                  <a:lnTo>
                    <a:pt x="25729" y="1143922"/>
                  </a:lnTo>
                  <a:cubicBezTo>
                    <a:pt x="8860" y="1061497"/>
                    <a:pt x="0" y="976155"/>
                    <a:pt x="0" y="888744"/>
                  </a:cubicBezTo>
                  <a:cubicBezTo>
                    <a:pt x="0" y="582805"/>
                    <a:pt x="108522" y="302208"/>
                    <a:pt x="289178" y="83338"/>
                  </a:cubicBezTo>
                  <a:lnTo>
                    <a:pt x="364932" y="0"/>
                  </a:lnTo>
                  <a:close/>
                </a:path>
              </a:pathLst>
            </a:custGeom>
            <a:solidFill>
              <a:srgbClr val="5B91C9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8F2ADE0F-D87B-61A1-CECA-564214248641}"/>
                </a:ext>
              </a:extLst>
            </p:cNvPr>
            <p:cNvSpPr/>
            <p:nvPr/>
          </p:nvSpPr>
          <p:spPr>
            <a:xfrm>
              <a:off x="3362328" y="3562342"/>
              <a:ext cx="619044" cy="344315"/>
            </a:xfrm>
            <a:custGeom>
              <a:avLst/>
              <a:gdLst>
                <a:gd name="connsiteX0" fmla="*/ 618524 w 619044"/>
                <a:gd name="connsiteY0" fmla="*/ 0 h 344315"/>
                <a:gd name="connsiteX1" fmla="*/ 619044 w 619044"/>
                <a:gd name="connsiteY1" fmla="*/ 573 h 344315"/>
                <a:gd name="connsiteX2" fmla="*/ 614617 w 619044"/>
                <a:gd name="connsiteY2" fmla="*/ 5449 h 344315"/>
                <a:gd name="connsiteX3" fmla="*/ 524687 w 619044"/>
                <a:gd name="connsiteY3" fmla="*/ 87265 h 344315"/>
                <a:gd name="connsiteX4" fmla="*/ 442708 w 619044"/>
                <a:gd name="connsiteY4" fmla="*/ 148631 h 344315"/>
                <a:gd name="connsiteX5" fmla="*/ 427113 w 619044"/>
                <a:gd name="connsiteY5" fmla="*/ 160293 h 344315"/>
                <a:gd name="connsiteX6" fmla="*/ 399770 w 619044"/>
                <a:gd name="connsiteY6" fmla="*/ 176920 h 344315"/>
                <a:gd name="connsiteX7" fmla="*/ 322544 w 619044"/>
                <a:gd name="connsiteY7" fmla="*/ 223836 h 344315"/>
                <a:gd name="connsiteX8" fmla="*/ 95414 w 619044"/>
                <a:gd name="connsiteY8" fmla="*/ 319782 h 344315"/>
                <a:gd name="connsiteX9" fmla="*/ 0 w 619044"/>
                <a:gd name="connsiteY9" fmla="*/ 344315 h 344315"/>
                <a:gd name="connsiteX10" fmla="*/ 46 w 619044"/>
                <a:gd name="connsiteY10" fmla="*/ 344138 h 344315"/>
                <a:gd name="connsiteX11" fmla="*/ 204 w 619044"/>
                <a:gd name="connsiteY11" fmla="*/ 344097 h 344315"/>
                <a:gd name="connsiteX12" fmla="*/ 230 w 619044"/>
                <a:gd name="connsiteY12" fmla="*/ 343995 h 344315"/>
                <a:gd name="connsiteX13" fmla="*/ 94425 w 619044"/>
                <a:gd name="connsiteY13" fmla="*/ 319766 h 344315"/>
                <a:gd name="connsiteX14" fmla="*/ 613452 w 619044"/>
                <a:gd name="connsiteY14" fmla="*/ 5582 h 344315"/>
                <a:gd name="connsiteX15" fmla="*/ 618524 w 619044"/>
                <a:gd name="connsiteY15" fmla="*/ 0 h 34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19044" h="344315">
                  <a:moveTo>
                    <a:pt x="618524" y="0"/>
                  </a:moveTo>
                  <a:lnTo>
                    <a:pt x="619044" y="573"/>
                  </a:lnTo>
                  <a:lnTo>
                    <a:pt x="614617" y="5449"/>
                  </a:lnTo>
                  <a:cubicBezTo>
                    <a:pt x="585971" y="34124"/>
                    <a:pt x="555959" y="61432"/>
                    <a:pt x="524687" y="87265"/>
                  </a:cubicBezTo>
                  <a:lnTo>
                    <a:pt x="442708" y="148631"/>
                  </a:lnTo>
                  <a:lnTo>
                    <a:pt x="427113" y="160293"/>
                  </a:lnTo>
                  <a:lnTo>
                    <a:pt x="399770" y="176920"/>
                  </a:lnTo>
                  <a:lnTo>
                    <a:pt x="322544" y="223836"/>
                  </a:lnTo>
                  <a:cubicBezTo>
                    <a:pt x="250743" y="262841"/>
                    <a:pt x="174750" y="295106"/>
                    <a:pt x="95414" y="319782"/>
                  </a:cubicBezTo>
                  <a:lnTo>
                    <a:pt x="0" y="344315"/>
                  </a:lnTo>
                  <a:lnTo>
                    <a:pt x="46" y="344138"/>
                  </a:lnTo>
                  <a:lnTo>
                    <a:pt x="204" y="344097"/>
                  </a:lnTo>
                  <a:lnTo>
                    <a:pt x="230" y="343995"/>
                  </a:lnTo>
                  <a:lnTo>
                    <a:pt x="94425" y="319766"/>
                  </a:lnTo>
                  <a:cubicBezTo>
                    <a:pt x="292751" y="258058"/>
                    <a:pt x="470182" y="148907"/>
                    <a:pt x="613452" y="5582"/>
                  </a:cubicBezTo>
                  <a:lnTo>
                    <a:pt x="618524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CD57AAC-2DBD-FDBA-7937-B3E712BC11E1}"/>
                </a:ext>
              </a:extLst>
            </p:cNvPr>
            <p:cNvSpPr/>
            <p:nvPr/>
          </p:nvSpPr>
          <p:spPr>
            <a:xfrm>
              <a:off x="3081184" y="3562963"/>
              <a:ext cx="1264755" cy="1264805"/>
            </a:xfrm>
            <a:custGeom>
              <a:avLst/>
              <a:gdLst>
                <a:gd name="connsiteX0" fmla="*/ 900233 w 1264755"/>
                <a:gd name="connsiteY0" fmla="*/ 0 h 1264805"/>
                <a:gd name="connsiteX1" fmla="*/ 975472 w 1264755"/>
                <a:gd name="connsiteY1" fmla="*/ 82784 h 1264805"/>
                <a:gd name="connsiteX2" fmla="*/ 1264755 w 1264755"/>
                <a:gd name="connsiteY2" fmla="*/ 888606 h 1264805"/>
                <a:gd name="connsiteX3" fmla="*/ 1239017 w 1264755"/>
                <a:gd name="connsiteY3" fmla="*/ 1143917 h 1264805"/>
                <a:gd name="connsiteX4" fmla="*/ 1216192 w 1264755"/>
                <a:gd name="connsiteY4" fmla="*/ 1232691 h 1264805"/>
                <a:gd name="connsiteX5" fmla="*/ 1191290 w 1264755"/>
                <a:gd name="connsiteY5" fmla="*/ 1239091 h 1264805"/>
                <a:gd name="connsiteX6" fmla="*/ 1065551 w 1264755"/>
                <a:gd name="connsiteY6" fmla="*/ 1258279 h 1264805"/>
                <a:gd name="connsiteX7" fmla="*/ 936301 w 1264755"/>
                <a:gd name="connsiteY7" fmla="*/ 1264805 h 1264805"/>
                <a:gd name="connsiteX8" fmla="*/ 807004 w 1264755"/>
                <a:gd name="connsiteY8" fmla="*/ 1258275 h 1264805"/>
                <a:gd name="connsiteX9" fmla="*/ 40745 w 1264755"/>
                <a:gd name="connsiteY9" fmla="*/ 893770 h 1264805"/>
                <a:gd name="connsiteX10" fmla="*/ 0 w 1264755"/>
                <a:gd name="connsiteY10" fmla="*/ 848939 h 1264805"/>
                <a:gd name="connsiteX11" fmla="*/ 40808 w 1264755"/>
                <a:gd name="connsiteY11" fmla="*/ 804045 h 1264805"/>
                <a:gd name="connsiteX12" fmla="*/ 273052 w 1264755"/>
                <a:gd name="connsiteY12" fmla="*/ 375162 h 1264805"/>
                <a:gd name="connsiteX13" fmla="*/ 281125 w 1264755"/>
                <a:gd name="connsiteY13" fmla="*/ 343769 h 1264805"/>
                <a:gd name="connsiteX14" fmla="*/ 376881 w 1264755"/>
                <a:gd name="connsiteY14" fmla="*/ 319123 h 1264805"/>
                <a:gd name="connsiteX15" fmla="*/ 603929 w 1264755"/>
                <a:gd name="connsiteY15" fmla="*/ 223115 h 1264805"/>
                <a:gd name="connsiteX16" fmla="*/ 680915 w 1264755"/>
                <a:gd name="connsiteY16" fmla="*/ 176298 h 1264805"/>
                <a:gd name="connsiteX17" fmla="*/ 708139 w 1264755"/>
                <a:gd name="connsiteY17" fmla="*/ 159759 h 1264805"/>
                <a:gd name="connsiteX18" fmla="*/ 708258 w 1264755"/>
                <a:gd name="connsiteY18" fmla="*/ 159671 h 1264805"/>
                <a:gd name="connsiteX19" fmla="*/ 708342 w 1264755"/>
                <a:gd name="connsiteY19" fmla="*/ 159619 h 1264805"/>
                <a:gd name="connsiteX20" fmla="*/ 723853 w 1264755"/>
                <a:gd name="connsiteY20" fmla="*/ 148009 h 1264805"/>
                <a:gd name="connsiteX21" fmla="*/ 805664 w 1264755"/>
                <a:gd name="connsiteY21" fmla="*/ 86831 h 1264805"/>
                <a:gd name="connsiteX22" fmla="*/ 895627 w 1264755"/>
                <a:gd name="connsiteY22" fmla="*/ 5068 h 1264805"/>
                <a:gd name="connsiteX23" fmla="*/ 900233 w 1264755"/>
                <a:gd name="connsiteY23" fmla="*/ 0 h 1264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64755" h="1264805">
                  <a:moveTo>
                    <a:pt x="900233" y="0"/>
                  </a:moveTo>
                  <a:lnTo>
                    <a:pt x="975472" y="82784"/>
                  </a:lnTo>
                  <a:cubicBezTo>
                    <a:pt x="1156193" y="301767"/>
                    <a:pt x="1264755" y="582509"/>
                    <a:pt x="1264755" y="888606"/>
                  </a:cubicBezTo>
                  <a:cubicBezTo>
                    <a:pt x="1264755" y="976063"/>
                    <a:pt x="1255893" y="1061449"/>
                    <a:pt x="1239017" y="1143917"/>
                  </a:cubicBezTo>
                  <a:lnTo>
                    <a:pt x="1216192" y="1232691"/>
                  </a:lnTo>
                  <a:lnTo>
                    <a:pt x="1191290" y="1239091"/>
                  </a:lnTo>
                  <a:cubicBezTo>
                    <a:pt x="1150071" y="1247525"/>
                    <a:pt x="1108123" y="1253956"/>
                    <a:pt x="1065551" y="1258279"/>
                  </a:cubicBezTo>
                  <a:lnTo>
                    <a:pt x="936301" y="1264805"/>
                  </a:lnTo>
                  <a:lnTo>
                    <a:pt x="807004" y="1258275"/>
                  </a:lnTo>
                  <a:cubicBezTo>
                    <a:pt x="508894" y="1228001"/>
                    <a:pt x="241340" y="1094365"/>
                    <a:pt x="40745" y="893770"/>
                  </a:cubicBezTo>
                  <a:lnTo>
                    <a:pt x="0" y="848939"/>
                  </a:lnTo>
                  <a:lnTo>
                    <a:pt x="40808" y="804045"/>
                  </a:lnTo>
                  <a:cubicBezTo>
                    <a:pt x="144040" y="678977"/>
                    <a:pt x="223718" y="533753"/>
                    <a:pt x="273052" y="375162"/>
                  </a:cubicBezTo>
                  <a:lnTo>
                    <a:pt x="281125" y="343769"/>
                  </a:lnTo>
                  <a:lnTo>
                    <a:pt x="376881" y="319123"/>
                  </a:lnTo>
                  <a:cubicBezTo>
                    <a:pt x="456189" y="294431"/>
                    <a:pt x="532155" y="262145"/>
                    <a:pt x="603929" y="223115"/>
                  </a:cubicBezTo>
                  <a:lnTo>
                    <a:pt x="680915" y="176298"/>
                  </a:lnTo>
                  <a:lnTo>
                    <a:pt x="708139" y="159759"/>
                  </a:lnTo>
                  <a:lnTo>
                    <a:pt x="708258" y="159671"/>
                  </a:lnTo>
                  <a:lnTo>
                    <a:pt x="708342" y="159619"/>
                  </a:lnTo>
                  <a:lnTo>
                    <a:pt x="723853" y="148009"/>
                  </a:lnTo>
                  <a:lnTo>
                    <a:pt x="805664" y="86831"/>
                  </a:lnTo>
                  <a:cubicBezTo>
                    <a:pt x="836947" y="61014"/>
                    <a:pt x="866970" y="33724"/>
                    <a:pt x="895627" y="5068"/>
                  </a:cubicBezTo>
                  <a:lnTo>
                    <a:pt x="900233" y="0"/>
                  </a:lnTo>
                  <a:close/>
                </a:path>
              </a:pathLst>
            </a:custGeom>
            <a:solidFill>
              <a:srgbClr val="51A4F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2F9651C-9425-6222-4CF0-C666ABF817AE}"/>
                </a:ext>
              </a:extLst>
            </p:cNvPr>
            <p:cNvSpPr/>
            <p:nvPr/>
          </p:nvSpPr>
          <p:spPr>
            <a:xfrm>
              <a:off x="2357999" y="3711708"/>
              <a:ext cx="14607" cy="10923"/>
            </a:xfrm>
            <a:custGeom>
              <a:avLst/>
              <a:gdLst>
                <a:gd name="connsiteX0" fmla="*/ 0 w 14607"/>
                <a:gd name="connsiteY0" fmla="*/ 0 h 10923"/>
                <a:gd name="connsiteX1" fmla="*/ 14607 w 14607"/>
                <a:gd name="connsiteY1" fmla="*/ 10923 h 10923"/>
                <a:gd name="connsiteX2" fmla="*/ 14528 w 14607"/>
                <a:gd name="connsiteY2" fmla="*/ 10875 h 10923"/>
                <a:gd name="connsiteX3" fmla="*/ 0 w 14607"/>
                <a:gd name="connsiteY3" fmla="*/ 0 h 1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07" h="10923">
                  <a:moveTo>
                    <a:pt x="0" y="0"/>
                  </a:moveTo>
                  <a:lnTo>
                    <a:pt x="14607" y="10923"/>
                  </a:lnTo>
                  <a:lnTo>
                    <a:pt x="14528" y="108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DE0F30C7-C5AC-AF55-0C3A-8BF527228D3E}"/>
                </a:ext>
              </a:extLst>
            </p:cNvPr>
            <p:cNvSpPr/>
            <p:nvPr/>
          </p:nvSpPr>
          <p:spPr>
            <a:xfrm>
              <a:off x="2372605" y="3722631"/>
              <a:ext cx="28078" cy="17075"/>
            </a:xfrm>
            <a:custGeom>
              <a:avLst/>
              <a:gdLst>
                <a:gd name="connsiteX0" fmla="*/ 0 w 28078"/>
                <a:gd name="connsiteY0" fmla="*/ 0 h 17075"/>
                <a:gd name="connsiteX1" fmla="*/ 28078 w 28078"/>
                <a:gd name="connsiteY1" fmla="*/ 17075 h 17075"/>
                <a:gd name="connsiteX2" fmla="*/ 123 w 28078"/>
                <a:gd name="connsiteY2" fmla="*/ 92 h 17075"/>
                <a:gd name="connsiteX3" fmla="*/ 0 w 28078"/>
                <a:gd name="connsiteY3" fmla="*/ 0 h 17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78" h="17075">
                  <a:moveTo>
                    <a:pt x="0" y="0"/>
                  </a:moveTo>
                  <a:lnTo>
                    <a:pt x="28078" y="17075"/>
                  </a:lnTo>
                  <a:lnTo>
                    <a:pt x="123" y="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4B837FAC-E41A-A8E0-7537-8525596F3D7B}"/>
                </a:ext>
              </a:extLst>
            </p:cNvPr>
            <p:cNvSpPr/>
            <p:nvPr/>
          </p:nvSpPr>
          <p:spPr>
            <a:xfrm>
              <a:off x="2400683" y="3739705"/>
              <a:ext cx="399060" cy="167028"/>
            </a:xfrm>
            <a:custGeom>
              <a:avLst/>
              <a:gdLst>
                <a:gd name="connsiteX0" fmla="*/ 0 w 399060"/>
                <a:gd name="connsiteY0" fmla="*/ 0 h 167028"/>
                <a:gd name="connsiteX1" fmla="*/ 76495 w 399060"/>
                <a:gd name="connsiteY1" fmla="*/ 46472 h 167028"/>
                <a:gd name="connsiteX2" fmla="*/ 303625 w 399060"/>
                <a:gd name="connsiteY2" fmla="*/ 142418 h 167028"/>
                <a:gd name="connsiteX3" fmla="*/ 399040 w 399060"/>
                <a:gd name="connsiteY3" fmla="*/ 166951 h 167028"/>
                <a:gd name="connsiteX4" fmla="*/ 399060 w 399060"/>
                <a:gd name="connsiteY4" fmla="*/ 167028 h 167028"/>
                <a:gd name="connsiteX5" fmla="*/ 303303 w 399060"/>
                <a:gd name="connsiteY5" fmla="*/ 142381 h 167028"/>
                <a:gd name="connsiteX6" fmla="*/ 76255 w 399060"/>
                <a:gd name="connsiteY6" fmla="*/ 46373 h 167028"/>
                <a:gd name="connsiteX7" fmla="*/ 0 w 399060"/>
                <a:gd name="connsiteY7" fmla="*/ 0 h 167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060" h="167028">
                  <a:moveTo>
                    <a:pt x="0" y="0"/>
                  </a:moveTo>
                  <a:lnTo>
                    <a:pt x="76495" y="46472"/>
                  </a:lnTo>
                  <a:cubicBezTo>
                    <a:pt x="148296" y="85477"/>
                    <a:pt x="224289" y="117742"/>
                    <a:pt x="303625" y="142418"/>
                  </a:cubicBezTo>
                  <a:lnTo>
                    <a:pt x="399040" y="166951"/>
                  </a:lnTo>
                  <a:lnTo>
                    <a:pt x="399060" y="167028"/>
                  </a:lnTo>
                  <a:lnTo>
                    <a:pt x="303303" y="142381"/>
                  </a:lnTo>
                  <a:cubicBezTo>
                    <a:pt x="223995" y="117689"/>
                    <a:pt x="148030" y="85403"/>
                    <a:pt x="76255" y="4637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46833562-7F9D-5816-0BED-09A5ADA5229E}"/>
                </a:ext>
              </a:extLst>
            </p:cNvPr>
            <p:cNvSpPr/>
            <p:nvPr/>
          </p:nvSpPr>
          <p:spPr>
            <a:xfrm>
              <a:off x="3362224" y="3906377"/>
              <a:ext cx="176" cy="140"/>
            </a:xfrm>
            <a:custGeom>
              <a:avLst/>
              <a:gdLst>
                <a:gd name="connsiteX0" fmla="*/ 176 w 176"/>
                <a:gd name="connsiteY0" fmla="*/ 0 h 140"/>
                <a:gd name="connsiteX1" fmla="*/ 150 w 176"/>
                <a:gd name="connsiteY1" fmla="*/ 102 h 140"/>
                <a:gd name="connsiteX2" fmla="*/ 0 w 176"/>
                <a:gd name="connsiteY2" fmla="*/ 140 h 140"/>
                <a:gd name="connsiteX3" fmla="*/ 26 w 176"/>
                <a:gd name="connsiteY3" fmla="*/ 38 h 140"/>
                <a:gd name="connsiteX4" fmla="*/ 176 w 176"/>
                <a:gd name="connsiteY4" fmla="*/ 0 h 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" h="140">
                  <a:moveTo>
                    <a:pt x="176" y="0"/>
                  </a:moveTo>
                  <a:lnTo>
                    <a:pt x="150" y="102"/>
                  </a:lnTo>
                  <a:lnTo>
                    <a:pt x="0" y="140"/>
                  </a:lnTo>
                  <a:lnTo>
                    <a:pt x="26" y="38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3F9B5B48-C539-C4D8-A1CA-A3A03F86BA15}"/>
                </a:ext>
              </a:extLst>
            </p:cNvPr>
            <p:cNvSpPr/>
            <p:nvPr/>
          </p:nvSpPr>
          <p:spPr>
            <a:xfrm>
              <a:off x="2799679" y="3906479"/>
              <a:ext cx="195" cy="216"/>
            </a:xfrm>
            <a:custGeom>
              <a:avLst/>
              <a:gdLst>
                <a:gd name="connsiteX0" fmla="*/ 0 w 195"/>
                <a:gd name="connsiteY0" fmla="*/ 0 h 216"/>
                <a:gd name="connsiteX1" fmla="*/ 150 w 195"/>
                <a:gd name="connsiteY1" fmla="*/ 39 h 216"/>
                <a:gd name="connsiteX2" fmla="*/ 195 w 195"/>
                <a:gd name="connsiteY2" fmla="*/ 216 h 216"/>
                <a:gd name="connsiteX3" fmla="*/ 45 w 195"/>
                <a:gd name="connsiteY3" fmla="*/ 177 h 216"/>
                <a:gd name="connsiteX4" fmla="*/ 0 w 195"/>
                <a:gd name="connsiteY4" fmla="*/ 0 h 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" h="216">
                  <a:moveTo>
                    <a:pt x="0" y="0"/>
                  </a:moveTo>
                  <a:lnTo>
                    <a:pt x="150" y="39"/>
                  </a:lnTo>
                  <a:lnTo>
                    <a:pt x="195" y="216"/>
                  </a:lnTo>
                  <a:lnTo>
                    <a:pt x="45" y="1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F911A768-8CFC-B3AE-563F-863E1793534B}"/>
                </a:ext>
              </a:extLst>
            </p:cNvPr>
            <p:cNvSpPr/>
            <p:nvPr/>
          </p:nvSpPr>
          <p:spPr>
            <a:xfrm>
              <a:off x="3081026" y="3906518"/>
              <a:ext cx="281199" cy="32549"/>
            </a:xfrm>
            <a:custGeom>
              <a:avLst/>
              <a:gdLst>
                <a:gd name="connsiteX0" fmla="*/ 281199 w 281199"/>
                <a:gd name="connsiteY0" fmla="*/ 0 h 32549"/>
                <a:gd name="connsiteX1" fmla="*/ 281153 w 281199"/>
                <a:gd name="connsiteY1" fmla="*/ 178 h 32549"/>
                <a:gd name="connsiteX2" fmla="*/ 255311 w 281199"/>
                <a:gd name="connsiteY2" fmla="*/ 6822 h 32549"/>
                <a:gd name="connsiteX3" fmla="*/ 129526 w 281199"/>
                <a:gd name="connsiteY3" fmla="*/ 26019 h 32549"/>
                <a:gd name="connsiteX4" fmla="*/ 230 w 281199"/>
                <a:gd name="connsiteY4" fmla="*/ 32549 h 32549"/>
                <a:gd name="connsiteX5" fmla="*/ 0 w 281199"/>
                <a:gd name="connsiteY5" fmla="*/ 32537 h 32549"/>
                <a:gd name="connsiteX6" fmla="*/ 129020 w 281199"/>
                <a:gd name="connsiteY6" fmla="*/ 26015 h 32549"/>
                <a:gd name="connsiteX7" fmla="*/ 254759 w 281199"/>
                <a:gd name="connsiteY7" fmla="*/ 6805 h 32549"/>
                <a:gd name="connsiteX8" fmla="*/ 281199 w 281199"/>
                <a:gd name="connsiteY8" fmla="*/ 0 h 3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199" h="32549">
                  <a:moveTo>
                    <a:pt x="281199" y="0"/>
                  </a:moveTo>
                  <a:lnTo>
                    <a:pt x="281153" y="178"/>
                  </a:lnTo>
                  <a:lnTo>
                    <a:pt x="255311" y="6822"/>
                  </a:lnTo>
                  <a:cubicBezTo>
                    <a:pt x="214077" y="15260"/>
                    <a:pt x="172113" y="21695"/>
                    <a:pt x="129526" y="26019"/>
                  </a:cubicBezTo>
                  <a:lnTo>
                    <a:pt x="230" y="32549"/>
                  </a:lnTo>
                  <a:lnTo>
                    <a:pt x="0" y="32537"/>
                  </a:lnTo>
                  <a:lnTo>
                    <a:pt x="129020" y="26015"/>
                  </a:lnTo>
                  <a:cubicBezTo>
                    <a:pt x="171592" y="21687"/>
                    <a:pt x="213540" y="15249"/>
                    <a:pt x="254759" y="6805"/>
                  </a:cubicBezTo>
                  <a:lnTo>
                    <a:pt x="281199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930D4571-35C1-0FA0-8FA1-2BA5558184D1}"/>
                </a:ext>
              </a:extLst>
            </p:cNvPr>
            <p:cNvSpPr/>
            <p:nvPr/>
          </p:nvSpPr>
          <p:spPr>
            <a:xfrm>
              <a:off x="3362160" y="3906657"/>
              <a:ext cx="169" cy="115"/>
            </a:xfrm>
            <a:custGeom>
              <a:avLst/>
              <a:gdLst>
                <a:gd name="connsiteX0" fmla="*/ 169 w 169"/>
                <a:gd name="connsiteY0" fmla="*/ 0 h 115"/>
                <a:gd name="connsiteX1" fmla="*/ 149 w 169"/>
                <a:gd name="connsiteY1" fmla="*/ 76 h 115"/>
                <a:gd name="connsiteX2" fmla="*/ 0 w 169"/>
                <a:gd name="connsiteY2" fmla="*/ 115 h 115"/>
                <a:gd name="connsiteX3" fmla="*/ 19 w 169"/>
                <a:gd name="connsiteY3" fmla="*/ 39 h 115"/>
                <a:gd name="connsiteX4" fmla="*/ 169 w 169"/>
                <a:gd name="connsiteY4" fmla="*/ 0 h 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" h="115">
                  <a:moveTo>
                    <a:pt x="169" y="0"/>
                  </a:moveTo>
                  <a:lnTo>
                    <a:pt x="149" y="76"/>
                  </a:lnTo>
                  <a:lnTo>
                    <a:pt x="0" y="115"/>
                  </a:lnTo>
                  <a:lnTo>
                    <a:pt x="19" y="39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CD8CA4F-17CD-71E6-9696-7AE04DDD157B}"/>
                </a:ext>
              </a:extLst>
            </p:cNvPr>
            <p:cNvSpPr/>
            <p:nvPr/>
          </p:nvSpPr>
          <p:spPr>
            <a:xfrm>
              <a:off x="2799873" y="3906695"/>
              <a:ext cx="280682" cy="32370"/>
            </a:xfrm>
            <a:custGeom>
              <a:avLst/>
              <a:gdLst>
                <a:gd name="connsiteX0" fmla="*/ 0 w 280682"/>
                <a:gd name="connsiteY0" fmla="*/ 0 h 32370"/>
                <a:gd name="connsiteX1" fmla="*/ 25841 w 280682"/>
                <a:gd name="connsiteY1" fmla="*/ 6644 h 32370"/>
                <a:gd name="connsiteX2" fmla="*/ 151626 w 280682"/>
                <a:gd name="connsiteY2" fmla="*/ 25841 h 32370"/>
                <a:gd name="connsiteX3" fmla="*/ 280682 w 280682"/>
                <a:gd name="connsiteY3" fmla="*/ 32358 h 32370"/>
                <a:gd name="connsiteX4" fmla="*/ 280453 w 280682"/>
                <a:gd name="connsiteY4" fmla="*/ 32370 h 32370"/>
                <a:gd name="connsiteX5" fmla="*/ 151214 w 280682"/>
                <a:gd name="connsiteY5" fmla="*/ 25837 h 32370"/>
                <a:gd name="connsiteX6" fmla="*/ 25475 w 280682"/>
                <a:gd name="connsiteY6" fmla="*/ 6628 h 32370"/>
                <a:gd name="connsiteX7" fmla="*/ 20 w 280682"/>
                <a:gd name="connsiteY7" fmla="*/ 76 h 32370"/>
                <a:gd name="connsiteX8" fmla="*/ 0 w 280682"/>
                <a:gd name="connsiteY8" fmla="*/ 0 h 3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682" h="32370">
                  <a:moveTo>
                    <a:pt x="0" y="0"/>
                  </a:moveTo>
                  <a:lnTo>
                    <a:pt x="25841" y="6644"/>
                  </a:lnTo>
                  <a:cubicBezTo>
                    <a:pt x="67075" y="15082"/>
                    <a:pt x="109039" y="21517"/>
                    <a:pt x="151626" y="25841"/>
                  </a:cubicBezTo>
                  <a:lnTo>
                    <a:pt x="280682" y="32358"/>
                  </a:lnTo>
                  <a:lnTo>
                    <a:pt x="280453" y="32370"/>
                  </a:lnTo>
                  <a:lnTo>
                    <a:pt x="151214" y="25837"/>
                  </a:lnTo>
                  <a:cubicBezTo>
                    <a:pt x="108642" y="21510"/>
                    <a:pt x="66694" y="15071"/>
                    <a:pt x="25475" y="6628"/>
                  </a:cubicBezTo>
                  <a:lnTo>
                    <a:pt x="2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0133C476-80AD-30AC-5A73-14D5A3F2C6D3}"/>
                </a:ext>
              </a:extLst>
            </p:cNvPr>
            <p:cNvSpPr/>
            <p:nvPr/>
          </p:nvSpPr>
          <p:spPr>
            <a:xfrm>
              <a:off x="2799743" y="3906734"/>
              <a:ext cx="194" cy="211"/>
            </a:xfrm>
            <a:custGeom>
              <a:avLst/>
              <a:gdLst>
                <a:gd name="connsiteX0" fmla="*/ 0 w 194"/>
                <a:gd name="connsiteY0" fmla="*/ 0 h 211"/>
                <a:gd name="connsiteX1" fmla="*/ 150 w 194"/>
                <a:gd name="connsiteY1" fmla="*/ 38 h 211"/>
                <a:gd name="connsiteX2" fmla="*/ 194 w 194"/>
                <a:gd name="connsiteY2" fmla="*/ 211 h 211"/>
                <a:gd name="connsiteX3" fmla="*/ 44 w 194"/>
                <a:gd name="connsiteY3" fmla="*/ 172 h 211"/>
                <a:gd name="connsiteX4" fmla="*/ 0 w 194"/>
                <a:gd name="connsiteY4" fmla="*/ 0 h 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" h="211">
                  <a:moveTo>
                    <a:pt x="0" y="0"/>
                  </a:moveTo>
                  <a:lnTo>
                    <a:pt x="150" y="38"/>
                  </a:lnTo>
                  <a:lnTo>
                    <a:pt x="194" y="211"/>
                  </a:lnTo>
                  <a:lnTo>
                    <a:pt x="44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7A9AE20-21E7-CF1E-900B-50763EE14A67}"/>
                </a:ext>
              </a:extLst>
            </p:cNvPr>
            <p:cNvSpPr/>
            <p:nvPr/>
          </p:nvSpPr>
          <p:spPr>
            <a:xfrm>
              <a:off x="2799937" y="3906771"/>
              <a:ext cx="562222" cy="504958"/>
            </a:xfrm>
            <a:custGeom>
              <a:avLst/>
              <a:gdLst>
                <a:gd name="connsiteX0" fmla="*/ 562222 w 562222"/>
                <a:gd name="connsiteY0" fmla="*/ 0 h 504958"/>
                <a:gd name="connsiteX1" fmla="*/ 554278 w 562222"/>
                <a:gd name="connsiteY1" fmla="*/ 30894 h 504958"/>
                <a:gd name="connsiteX2" fmla="*/ 321949 w 562222"/>
                <a:gd name="connsiteY2" fmla="*/ 459999 h 504958"/>
                <a:gd name="connsiteX3" fmla="*/ 281089 w 562222"/>
                <a:gd name="connsiteY3" fmla="*/ 504958 h 504958"/>
                <a:gd name="connsiteX4" fmla="*/ 240228 w 562222"/>
                <a:gd name="connsiteY4" fmla="*/ 459999 h 504958"/>
                <a:gd name="connsiteX5" fmla="*/ 7899 w 562222"/>
                <a:gd name="connsiteY5" fmla="*/ 30894 h 504958"/>
                <a:gd name="connsiteX6" fmla="*/ 0 w 562222"/>
                <a:gd name="connsiteY6" fmla="*/ 173 h 504958"/>
                <a:gd name="connsiteX7" fmla="*/ 24839 w 562222"/>
                <a:gd name="connsiteY7" fmla="*/ 6562 h 504958"/>
                <a:gd name="connsiteX8" fmla="*/ 280129 w 562222"/>
                <a:gd name="connsiteY8" fmla="*/ 32307 h 504958"/>
                <a:gd name="connsiteX9" fmla="*/ 280389 w 562222"/>
                <a:gd name="connsiteY9" fmla="*/ 32294 h 504958"/>
                <a:gd name="connsiteX10" fmla="*/ 280629 w 562222"/>
                <a:gd name="connsiteY10" fmla="*/ 32306 h 504958"/>
                <a:gd name="connsiteX11" fmla="*/ 280859 w 562222"/>
                <a:gd name="connsiteY11" fmla="*/ 32295 h 504958"/>
                <a:gd name="connsiteX12" fmla="*/ 281088 w 562222"/>
                <a:gd name="connsiteY12" fmla="*/ 32306 h 504958"/>
                <a:gd name="connsiteX13" fmla="*/ 281318 w 562222"/>
                <a:gd name="connsiteY13" fmla="*/ 32295 h 504958"/>
                <a:gd name="connsiteX14" fmla="*/ 281547 w 562222"/>
                <a:gd name="connsiteY14" fmla="*/ 32306 h 504958"/>
                <a:gd name="connsiteX15" fmla="*/ 536765 w 562222"/>
                <a:gd name="connsiteY15" fmla="*/ 6552 h 504958"/>
                <a:gd name="connsiteX16" fmla="*/ 562222 w 562222"/>
                <a:gd name="connsiteY16" fmla="*/ 0 h 50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222" h="504958">
                  <a:moveTo>
                    <a:pt x="562222" y="0"/>
                  </a:moveTo>
                  <a:lnTo>
                    <a:pt x="554278" y="30894"/>
                  </a:lnTo>
                  <a:cubicBezTo>
                    <a:pt x="504925" y="189567"/>
                    <a:pt x="425218" y="334866"/>
                    <a:pt x="321949" y="459999"/>
                  </a:cubicBezTo>
                  <a:lnTo>
                    <a:pt x="281089" y="504958"/>
                  </a:lnTo>
                  <a:lnTo>
                    <a:pt x="240228" y="459999"/>
                  </a:lnTo>
                  <a:cubicBezTo>
                    <a:pt x="136959" y="334866"/>
                    <a:pt x="57252" y="189567"/>
                    <a:pt x="7899" y="30894"/>
                  </a:cubicBezTo>
                  <a:lnTo>
                    <a:pt x="0" y="173"/>
                  </a:lnTo>
                  <a:lnTo>
                    <a:pt x="24839" y="6562"/>
                  </a:lnTo>
                  <a:cubicBezTo>
                    <a:pt x="107300" y="23442"/>
                    <a:pt x="192680" y="32307"/>
                    <a:pt x="280129" y="32307"/>
                  </a:cubicBezTo>
                  <a:lnTo>
                    <a:pt x="280389" y="32294"/>
                  </a:lnTo>
                  <a:lnTo>
                    <a:pt x="280629" y="32306"/>
                  </a:lnTo>
                  <a:lnTo>
                    <a:pt x="280859" y="32295"/>
                  </a:lnTo>
                  <a:lnTo>
                    <a:pt x="281088" y="32306"/>
                  </a:lnTo>
                  <a:lnTo>
                    <a:pt x="281318" y="32295"/>
                  </a:lnTo>
                  <a:lnTo>
                    <a:pt x="281547" y="32306"/>
                  </a:lnTo>
                  <a:cubicBezTo>
                    <a:pt x="368972" y="32306"/>
                    <a:pt x="454328" y="23438"/>
                    <a:pt x="536765" y="6552"/>
                  </a:cubicBezTo>
                  <a:lnTo>
                    <a:pt x="562222" y="0"/>
                  </a:lnTo>
                  <a:close/>
                </a:path>
              </a:pathLst>
            </a:custGeom>
            <a:solidFill>
              <a:srgbClr val="6CC6F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8FD9F0AB-A96E-7B62-944F-3DD6FE0ED8E8}"/>
                </a:ext>
              </a:extLst>
            </p:cNvPr>
            <p:cNvSpPr/>
            <p:nvPr/>
          </p:nvSpPr>
          <p:spPr>
            <a:xfrm>
              <a:off x="3080869" y="4411729"/>
              <a:ext cx="315" cy="346"/>
            </a:xfrm>
            <a:custGeom>
              <a:avLst/>
              <a:gdLst>
                <a:gd name="connsiteX0" fmla="*/ 158 w 315"/>
                <a:gd name="connsiteY0" fmla="*/ 0 h 346"/>
                <a:gd name="connsiteX1" fmla="*/ 315 w 315"/>
                <a:gd name="connsiteY1" fmla="*/ 173 h 346"/>
                <a:gd name="connsiteX2" fmla="*/ 158 w 315"/>
                <a:gd name="connsiteY2" fmla="*/ 346 h 346"/>
                <a:gd name="connsiteX3" fmla="*/ 0 w 315"/>
                <a:gd name="connsiteY3" fmla="*/ 173 h 346"/>
                <a:gd name="connsiteX4" fmla="*/ 158 w 315"/>
                <a:gd name="connsiteY4" fmla="*/ 0 h 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5" h="346">
                  <a:moveTo>
                    <a:pt x="158" y="0"/>
                  </a:moveTo>
                  <a:lnTo>
                    <a:pt x="315" y="173"/>
                  </a:lnTo>
                  <a:lnTo>
                    <a:pt x="158" y="346"/>
                  </a:lnTo>
                  <a:lnTo>
                    <a:pt x="0" y="173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3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53ED078C-0808-8D39-2530-22E8BA9D53B8}"/>
                </a:ext>
              </a:extLst>
            </p:cNvPr>
            <p:cNvSpPr/>
            <p:nvPr/>
          </p:nvSpPr>
          <p:spPr>
            <a:xfrm>
              <a:off x="1860603" y="4412075"/>
              <a:ext cx="2436737" cy="1306325"/>
            </a:xfrm>
            <a:custGeom>
              <a:avLst/>
              <a:gdLst>
                <a:gd name="connsiteX0" fmla="*/ 1220423 w 2436737"/>
                <a:gd name="connsiteY0" fmla="*/ 0 h 1306325"/>
                <a:gd name="connsiteX1" fmla="*/ 1261191 w 2436737"/>
                <a:gd name="connsiteY1" fmla="*/ 44849 h 1306325"/>
                <a:gd name="connsiteX2" fmla="*/ 2156652 w 2436737"/>
                <a:gd name="connsiteY2" fmla="*/ 415704 h 1306325"/>
                <a:gd name="connsiteX3" fmla="*/ 2156881 w 2436737"/>
                <a:gd name="connsiteY3" fmla="*/ 415693 h 1306325"/>
                <a:gd name="connsiteX4" fmla="*/ 2157110 w 2436737"/>
                <a:gd name="connsiteY4" fmla="*/ 415704 h 1306325"/>
                <a:gd name="connsiteX5" fmla="*/ 2412421 w 2436737"/>
                <a:gd name="connsiteY5" fmla="*/ 389966 h 1306325"/>
                <a:gd name="connsiteX6" fmla="*/ 2436737 w 2436737"/>
                <a:gd name="connsiteY6" fmla="*/ 383714 h 1306325"/>
                <a:gd name="connsiteX7" fmla="*/ 2428381 w 2436737"/>
                <a:gd name="connsiteY7" fmla="*/ 416211 h 1306325"/>
                <a:gd name="connsiteX8" fmla="*/ 1218504 w 2436737"/>
                <a:gd name="connsiteY8" fmla="*/ 1306325 h 1306325"/>
                <a:gd name="connsiteX9" fmla="*/ 8627 w 2436737"/>
                <a:gd name="connsiteY9" fmla="*/ 416211 h 1306325"/>
                <a:gd name="connsiteX10" fmla="*/ 0 w 2436737"/>
                <a:gd name="connsiteY10" fmla="*/ 382658 h 1306325"/>
                <a:gd name="connsiteX11" fmla="*/ 28424 w 2436737"/>
                <a:gd name="connsiteY11" fmla="*/ 389966 h 1306325"/>
                <a:gd name="connsiteX12" fmla="*/ 283735 w 2436737"/>
                <a:gd name="connsiteY12" fmla="*/ 415704 h 1306325"/>
                <a:gd name="connsiteX13" fmla="*/ 283964 w 2436737"/>
                <a:gd name="connsiteY13" fmla="*/ 415693 h 1306325"/>
                <a:gd name="connsiteX14" fmla="*/ 284194 w 2436737"/>
                <a:gd name="connsiteY14" fmla="*/ 415704 h 1306325"/>
                <a:gd name="connsiteX15" fmla="*/ 1179654 w 2436737"/>
                <a:gd name="connsiteY15" fmla="*/ 44849 h 1306325"/>
                <a:gd name="connsiteX16" fmla="*/ 1220423 w 2436737"/>
                <a:gd name="connsiteY16" fmla="*/ 0 h 130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36737" h="1306325">
                  <a:moveTo>
                    <a:pt x="1220423" y="0"/>
                  </a:moveTo>
                  <a:lnTo>
                    <a:pt x="1261191" y="44849"/>
                  </a:lnTo>
                  <a:cubicBezTo>
                    <a:pt x="1490360" y="273982"/>
                    <a:pt x="1806953" y="415704"/>
                    <a:pt x="2156652" y="415704"/>
                  </a:cubicBezTo>
                  <a:lnTo>
                    <a:pt x="2156881" y="415693"/>
                  </a:lnTo>
                  <a:lnTo>
                    <a:pt x="2157110" y="415704"/>
                  </a:lnTo>
                  <a:cubicBezTo>
                    <a:pt x="2244567" y="415704"/>
                    <a:pt x="2329953" y="406842"/>
                    <a:pt x="2412421" y="389966"/>
                  </a:cubicBezTo>
                  <a:lnTo>
                    <a:pt x="2436737" y="383714"/>
                  </a:lnTo>
                  <a:lnTo>
                    <a:pt x="2428381" y="416211"/>
                  </a:lnTo>
                  <a:cubicBezTo>
                    <a:pt x="2267986" y="931898"/>
                    <a:pt x="1786971" y="1306325"/>
                    <a:pt x="1218504" y="1306325"/>
                  </a:cubicBezTo>
                  <a:cubicBezTo>
                    <a:pt x="650038" y="1306325"/>
                    <a:pt x="169023" y="931898"/>
                    <a:pt x="8627" y="416211"/>
                  </a:cubicBezTo>
                  <a:lnTo>
                    <a:pt x="0" y="382658"/>
                  </a:lnTo>
                  <a:lnTo>
                    <a:pt x="28424" y="389966"/>
                  </a:lnTo>
                  <a:cubicBezTo>
                    <a:pt x="110892" y="406842"/>
                    <a:pt x="196278" y="415704"/>
                    <a:pt x="283735" y="415704"/>
                  </a:cubicBezTo>
                  <a:lnTo>
                    <a:pt x="283964" y="415693"/>
                  </a:lnTo>
                  <a:lnTo>
                    <a:pt x="284194" y="415704"/>
                  </a:lnTo>
                  <a:cubicBezTo>
                    <a:pt x="633893" y="415704"/>
                    <a:pt x="950486" y="273982"/>
                    <a:pt x="1179654" y="44849"/>
                  </a:cubicBezTo>
                  <a:lnTo>
                    <a:pt x="1220423" y="0"/>
                  </a:lnTo>
                  <a:close/>
                </a:path>
              </a:pathLst>
            </a:custGeom>
            <a:solidFill>
              <a:srgbClr val="0679C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TextBox 107">
              <a:extLst>
                <a:ext uri="{FF2B5EF4-FFF2-40B4-BE49-F238E27FC236}">
                  <a16:creationId xmlns:a16="http://schemas.microsoft.com/office/drawing/2014/main" id="{009FE71E-8B2C-19E1-DC21-95576DCB6E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34364" y="1724042"/>
              <a:ext cx="1443420" cy="2975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indent="-225425"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indent="-287338"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indent="-182563"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indent="-136525"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16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288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860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32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hysical</a:t>
              </a:r>
            </a:p>
          </p:txBody>
        </p:sp>
        <p:sp>
          <p:nvSpPr>
            <p:cNvPr id="42" name="TextBox 108">
              <a:extLst>
                <a:ext uri="{FF2B5EF4-FFF2-40B4-BE49-F238E27FC236}">
                  <a16:creationId xmlns:a16="http://schemas.microsoft.com/office/drawing/2014/main" id="{BF5B2467-FE76-33FF-0664-92DC8D405B9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8811" y="3315260"/>
              <a:ext cx="1443420" cy="297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indent="-225425"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indent="-287338"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indent="-182563"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indent="-136525"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16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288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860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32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ocial</a:t>
              </a:r>
            </a:p>
          </p:txBody>
        </p:sp>
        <p:sp>
          <p:nvSpPr>
            <p:cNvPr id="43" name="TextBox 109">
              <a:extLst>
                <a:ext uri="{FF2B5EF4-FFF2-40B4-BE49-F238E27FC236}">
                  <a16:creationId xmlns:a16="http://schemas.microsoft.com/office/drawing/2014/main" id="{2C496433-8C09-E22B-00FF-7AAB092179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29419" y="3315260"/>
              <a:ext cx="1443420" cy="297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indent="-225425"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indent="-287338"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indent="-182563"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indent="-136525"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16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288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860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32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ntal</a:t>
              </a:r>
            </a:p>
          </p:txBody>
        </p:sp>
        <p:sp>
          <p:nvSpPr>
            <p:cNvPr id="44" name="TextBox 110">
              <a:extLst>
                <a:ext uri="{FF2B5EF4-FFF2-40B4-BE49-F238E27FC236}">
                  <a16:creationId xmlns:a16="http://schemas.microsoft.com/office/drawing/2014/main" id="{C7F541DE-BB93-D22F-72CA-AD193F9C60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34364" y="5021642"/>
              <a:ext cx="1443420" cy="2975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indent="-225425"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indent="-287338"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indent="-182563"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indent="-136525"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16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288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860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3200" indent="-136525" fontAlgn="base">
                <a:spcBef>
                  <a:spcPct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piritual</a:t>
              </a: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34A11C0D-F221-843B-3038-1FCF9FF045D8}"/>
                </a:ext>
              </a:extLst>
            </p:cNvPr>
            <p:cNvSpPr/>
            <p:nvPr/>
          </p:nvSpPr>
          <p:spPr>
            <a:xfrm>
              <a:off x="651997" y="1138255"/>
              <a:ext cx="4813448" cy="4813448"/>
            </a:xfrm>
            <a:prstGeom prst="ellipse">
              <a:avLst/>
            </a:prstGeom>
            <a:noFill/>
            <a:ln w="19050" cap="sq">
              <a:solidFill>
                <a:schemeClr val="accent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Customer value proposition">
              <a:extLst>
                <a:ext uri="{FF2B5EF4-FFF2-40B4-BE49-F238E27FC236}">
                  <a16:creationId xmlns:a16="http://schemas.microsoft.com/office/drawing/2014/main" id="{A0985455-B8FA-EFDB-A2BE-30455D8AC24B}"/>
                </a:ext>
              </a:extLst>
            </p:cNvPr>
            <p:cNvSpPr txBox="1">
              <a:spLocks/>
            </p:cNvSpPr>
            <p:nvPr/>
          </p:nvSpPr>
          <p:spPr>
            <a:xfrm rot="2735076">
              <a:off x="2865547" y="1468675"/>
              <a:ext cx="2883734" cy="1600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spcFirstLastPara="1" lIns="0" tIns="0" rIns="0" bIns="0">
              <a:prstTxWarp prst="textArchUp">
                <a:avLst>
                  <a:gd name="adj" fmla="val 8716790"/>
                </a:avLst>
              </a:prstTxWarp>
              <a:spAutoFit/>
            </a:bodyPr>
            <a:lstStyle>
              <a:lvl1pPr marL="349861" lvl="0" indent="-349861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/>
              </a:lvl1pPr>
              <a:lvl2pPr marL="197607" lvl="1" indent="-195987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▪"/>
                <a:defRPr sz="1600"/>
              </a:lvl2pPr>
              <a:lvl3pPr marL="466481" lvl="2" indent="-267255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–"/>
                <a:defRPr sz="1600"/>
              </a:lvl3pPr>
              <a:lvl4pPr marL="626835" lvl="3" indent="-158733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▫"/>
                <a:defRPr sz="1600"/>
              </a:lvl4pPr>
              <a:lvl5pPr marL="761271" lvl="4" indent="-132818" defTabSz="913526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/>
              </a:lvl5pPr>
              <a:lvl6pPr marL="1227752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6pPr>
              <a:lvl7pPr marL="169423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7pPr>
              <a:lvl8pPr marL="2160715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8pPr>
              <a:lvl9pPr marL="2627196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pitchFamily="34" charset="0"/>
                <a:buChar char="-"/>
                <a:defRPr sz="1600"/>
              </a:lvl9pPr>
            </a:lstStyle>
            <a:p>
              <a:pPr marL="0" marR="0" lvl="0" indent="0" algn="ctr" defTabSz="9135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ventions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8" name="Rectangle 227">
            <a:extLst>
              <a:ext uri="{FF2B5EF4-FFF2-40B4-BE49-F238E27FC236}">
                <a16:creationId xmlns:a16="http://schemas.microsoft.com/office/drawing/2014/main" id="{BA601A2F-32DF-CC3F-466B-D91517A19658}"/>
              </a:ext>
            </a:extLst>
          </p:cNvPr>
          <p:cNvSpPr/>
          <p:nvPr/>
        </p:nvSpPr>
        <p:spPr>
          <a:xfrm>
            <a:off x="1044575" y="1299457"/>
            <a:ext cx="4835525" cy="40351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0EF218-FB11-1191-AC4A-20A1C054E70B}"/>
              </a:ext>
            </a:extLst>
          </p:cNvPr>
          <p:cNvSpPr txBox="1">
            <a:spLocks/>
          </p:cNvSpPr>
          <p:nvPr/>
        </p:nvSpPr>
        <p:spPr>
          <a:xfrm>
            <a:off x="1758950" y="1487913"/>
            <a:ext cx="426243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cial: an individual’s ability to build healthy, nurturing, genuine, and supportive relationship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71C1E6B-116E-1740-4707-75659800A39F}"/>
              </a:ext>
            </a:extLst>
          </p:cNvPr>
          <p:cNvSpPr txBox="1">
            <a:spLocks/>
          </p:cNvSpPr>
          <p:nvPr/>
        </p:nvSpPr>
        <p:spPr>
          <a:xfrm>
            <a:off x="1758950" y="3944911"/>
            <a:ext cx="426243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piritual: the extent to which people integrate meaning in their live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45ED19-C799-9F07-CF47-D552C3B7EA7A}"/>
              </a:ext>
            </a:extLst>
          </p:cNvPr>
          <p:cNvSpPr txBox="1">
            <a:spLocks/>
          </p:cNvSpPr>
          <p:nvPr/>
        </p:nvSpPr>
        <p:spPr>
          <a:xfrm>
            <a:off x="1291232" y="4686147"/>
            <a:ext cx="4730156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olistic Heal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: an integrated view of an individual's mental, physical, spiritual, and social functionin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AA51A9A-8854-0447-F74C-3DEB898BC755}"/>
              </a:ext>
            </a:extLst>
          </p:cNvPr>
          <p:cNvSpPr txBox="1">
            <a:spLocks/>
          </p:cNvSpPr>
          <p:nvPr/>
        </p:nvSpPr>
        <p:spPr>
          <a:xfrm>
            <a:off x="1758950" y="3197727"/>
            <a:ext cx="426243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ntal: an individual's cognitive, behavioral, and emotional state of bein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7535B22-22F6-2C4B-B31A-18531B180A20}"/>
              </a:ext>
            </a:extLst>
          </p:cNvPr>
          <p:cNvSpPr txBox="1">
            <a:spLocks/>
          </p:cNvSpPr>
          <p:nvPr/>
        </p:nvSpPr>
        <p:spPr>
          <a:xfrm>
            <a:off x="1758950" y="2235098"/>
            <a:ext cx="4262438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hysical: the extent to which an individual can competently perform physical tasks and activities without significant discomfor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88432601-77CC-DA7E-3702-346A5940274D}"/>
              </a:ext>
            </a:extLst>
          </p:cNvPr>
          <p:cNvSpPr/>
          <p:nvPr/>
        </p:nvSpPr>
        <p:spPr>
          <a:xfrm>
            <a:off x="1291232" y="1487913"/>
            <a:ext cx="325043" cy="325043"/>
          </a:xfrm>
          <a:prstGeom prst="ellipse">
            <a:avLst/>
          </a:prstGeom>
          <a:solidFill>
            <a:schemeClr val="accent1">
              <a:alpha val="80392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1" name="Oval 220">
            <a:extLst>
              <a:ext uri="{FF2B5EF4-FFF2-40B4-BE49-F238E27FC236}">
                <a16:creationId xmlns:a16="http://schemas.microsoft.com/office/drawing/2014/main" id="{F673BD29-5FE4-13FC-54C5-67187C311F2A}"/>
              </a:ext>
            </a:extLst>
          </p:cNvPr>
          <p:cNvSpPr/>
          <p:nvPr/>
        </p:nvSpPr>
        <p:spPr>
          <a:xfrm>
            <a:off x="1291232" y="2320618"/>
            <a:ext cx="325043" cy="325043"/>
          </a:xfrm>
          <a:prstGeom prst="ellipse">
            <a:avLst/>
          </a:prstGeom>
          <a:solidFill>
            <a:schemeClr val="accent2">
              <a:alpha val="80392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8A04EEA3-71FD-3DE7-0EC5-26970F383426}"/>
              </a:ext>
            </a:extLst>
          </p:cNvPr>
          <p:cNvSpPr/>
          <p:nvPr/>
        </p:nvSpPr>
        <p:spPr>
          <a:xfrm>
            <a:off x="1291232" y="3153323"/>
            <a:ext cx="325043" cy="325043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3" name="Oval 222">
            <a:extLst>
              <a:ext uri="{FF2B5EF4-FFF2-40B4-BE49-F238E27FC236}">
                <a16:creationId xmlns:a16="http://schemas.microsoft.com/office/drawing/2014/main" id="{AC29D1E0-15DC-12AE-1678-27983502855B}"/>
              </a:ext>
            </a:extLst>
          </p:cNvPr>
          <p:cNvSpPr/>
          <p:nvPr/>
        </p:nvSpPr>
        <p:spPr>
          <a:xfrm>
            <a:off x="1291232" y="3986028"/>
            <a:ext cx="325043" cy="325043"/>
          </a:xfrm>
          <a:prstGeom prst="ellipse">
            <a:avLst/>
          </a:prstGeom>
          <a:solidFill>
            <a:srgbClr val="0679C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045FDD5-6E98-AE1D-52A2-B0181EEA2A0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186567" y="6152972"/>
            <a:ext cx="2861449" cy="1846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96B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Strong employee health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9E83A36-76D6-1232-88E7-2AD9002E1C4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168679" y="6152972"/>
            <a:ext cx="2861449" cy="1846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5546C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Critical employee health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20DF06D-AA25-1581-8218-09E3F5248AB5}"/>
              </a:ext>
            </a:extLst>
          </p:cNvPr>
          <p:cNvSpPr txBox="1"/>
          <p:nvPr/>
        </p:nvSpPr>
        <p:spPr>
          <a:xfrm>
            <a:off x="4784596" y="5630396"/>
            <a:ext cx="2733804" cy="43088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 employee’s health may shift along this continuum over time</a:t>
            </a: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7F5C891-0123-ED65-38A5-D4BB4DE05602}"/>
              </a:ext>
            </a:extLst>
          </p:cNvPr>
          <p:cNvCxnSpPr>
            <a:cxnSpLocks/>
            <a:stCxn id="12" idx="3"/>
            <a:endCxn id="19" idx="43"/>
          </p:cNvCxnSpPr>
          <p:nvPr/>
        </p:nvCxnSpPr>
        <p:spPr>
          <a:xfrm flipV="1">
            <a:off x="700560" y="6068871"/>
            <a:ext cx="10792225" cy="6418"/>
          </a:xfrm>
          <a:prstGeom prst="line">
            <a:avLst/>
          </a:prstGeom>
          <a:ln w="38100" cap="flat">
            <a:gradFill>
              <a:gsLst>
                <a:gs pos="48000">
                  <a:srgbClr val="E5546C"/>
                </a:gs>
                <a:gs pos="52000">
                  <a:srgbClr val="1F9AAE"/>
                </a:gs>
              </a:gsLst>
              <a:lin ang="0" scaled="0"/>
            </a:gradFill>
            <a:miter lim="800000"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AA3EFC04-DF4C-C43A-3BBE-4B7293AAB58E}"/>
              </a:ext>
            </a:extLst>
          </p:cNvPr>
          <p:cNvGrpSpPr/>
          <p:nvPr/>
        </p:nvGrpSpPr>
        <p:grpSpPr>
          <a:xfrm>
            <a:off x="547688" y="5806109"/>
            <a:ext cx="1812953" cy="478909"/>
            <a:chOff x="3110735" y="1025227"/>
            <a:chExt cx="1812953" cy="478909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5372E68-8DE2-6398-5347-F2A1A5A0C590}"/>
                </a:ext>
              </a:extLst>
            </p:cNvPr>
            <p:cNvSpPr/>
            <p:nvPr/>
          </p:nvSpPr>
          <p:spPr>
            <a:xfrm>
              <a:off x="3110735" y="1025227"/>
              <a:ext cx="505132" cy="478908"/>
            </a:xfrm>
            <a:custGeom>
              <a:avLst/>
              <a:gdLst>
                <a:gd name="connsiteX0" fmla="*/ 435986 w 437610"/>
                <a:gd name="connsiteY0" fmla="*/ 110588 h 371045"/>
                <a:gd name="connsiteX1" fmla="*/ 331344 w 437610"/>
                <a:gd name="connsiteY1" fmla="*/ 422 h 371045"/>
                <a:gd name="connsiteX2" fmla="*/ 218806 w 437610"/>
                <a:gd name="connsiteY2" fmla="*/ 59020 h 371045"/>
                <a:gd name="connsiteX3" fmla="*/ 84399 w 437610"/>
                <a:gd name="connsiteY3" fmla="*/ 3508 h 371045"/>
                <a:gd name="connsiteX4" fmla="*/ 1608 w 437610"/>
                <a:gd name="connsiteY4" fmla="*/ 110588 h 371045"/>
                <a:gd name="connsiteX5" fmla="*/ 218806 w 437610"/>
                <a:gd name="connsiteY5" fmla="*/ 370945 h 371045"/>
                <a:gd name="connsiteX6" fmla="*/ 435986 w 437610"/>
                <a:gd name="connsiteY6" fmla="*/ 110588 h 371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610" h="371045">
                  <a:moveTo>
                    <a:pt x="435986" y="110588"/>
                  </a:moveTo>
                  <a:cubicBezTo>
                    <a:pt x="424346" y="37493"/>
                    <a:pt x="378741" y="4308"/>
                    <a:pt x="331344" y="422"/>
                  </a:cubicBezTo>
                  <a:cubicBezTo>
                    <a:pt x="252887" y="-5988"/>
                    <a:pt x="225655" y="48399"/>
                    <a:pt x="218806" y="59020"/>
                  </a:cubicBezTo>
                  <a:cubicBezTo>
                    <a:pt x="211939" y="48399"/>
                    <a:pt x="164047" y="-14161"/>
                    <a:pt x="84399" y="3508"/>
                  </a:cubicBezTo>
                  <a:cubicBezTo>
                    <a:pt x="45080" y="12233"/>
                    <a:pt x="11447" y="48838"/>
                    <a:pt x="1608" y="110588"/>
                  </a:cubicBezTo>
                  <a:cubicBezTo>
                    <a:pt x="-18347" y="235737"/>
                    <a:pt x="151903" y="320291"/>
                    <a:pt x="218806" y="370945"/>
                  </a:cubicBezTo>
                  <a:cubicBezTo>
                    <a:pt x="285691" y="320291"/>
                    <a:pt x="455950" y="235737"/>
                    <a:pt x="435986" y="110588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C32D853-C806-05C1-8BA9-B653A4E2EE0D}"/>
                </a:ext>
              </a:extLst>
            </p:cNvPr>
            <p:cNvSpPr/>
            <p:nvPr/>
          </p:nvSpPr>
          <p:spPr>
            <a:xfrm>
              <a:off x="3110735" y="1025855"/>
              <a:ext cx="298742" cy="478281"/>
            </a:xfrm>
            <a:custGeom>
              <a:avLst/>
              <a:gdLst>
                <a:gd name="connsiteX0" fmla="*/ 218806 w 258809"/>
                <a:gd name="connsiteY0" fmla="*/ 370459 h 370560"/>
                <a:gd name="connsiteX1" fmla="*/ 24544 w 258809"/>
                <a:gd name="connsiteY1" fmla="*/ 208068 h 370560"/>
                <a:gd name="connsiteX2" fmla="*/ 108259 w 258809"/>
                <a:gd name="connsiteY2" fmla="*/ 208068 h 370560"/>
                <a:gd name="connsiteX3" fmla="*/ 123356 w 258809"/>
                <a:gd name="connsiteY3" fmla="*/ 248825 h 370560"/>
                <a:gd name="connsiteX4" fmla="*/ 166171 w 258809"/>
                <a:gd name="connsiteY4" fmla="*/ 110855 h 370560"/>
                <a:gd name="connsiteX5" fmla="*/ 212653 w 258809"/>
                <a:gd name="connsiteY5" fmla="*/ 321987 h 370560"/>
                <a:gd name="connsiteX6" fmla="*/ 255144 w 258809"/>
                <a:gd name="connsiteY6" fmla="*/ 196323 h 370560"/>
                <a:gd name="connsiteX7" fmla="*/ 258802 w 258809"/>
                <a:gd name="connsiteY7" fmla="*/ 206001 h 370560"/>
                <a:gd name="connsiteX8" fmla="*/ 258802 w 258809"/>
                <a:gd name="connsiteY8" fmla="*/ 342751 h 370560"/>
                <a:gd name="connsiteX9" fmla="*/ 218806 w 258809"/>
                <a:gd name="connsiteY9" fmla="*/ 370459 h 370560"/>
                <a:gd name="connsiteX10" fmla="*/ 214673 w 258809"/>
                <a:gd name="connsiteY10" fmla="*/ 285011 h 370560"/>
                <a:gd name="connsiteX11" fmla="*/ 167810 w 258809"/>
                <a:gd name="connsiteY11" fmla="*/ 72098 h 370560"/>
                <a:gd name="connsiteX12" fmla="*/ 122518 w 258809"/>
                <a:gd name="connsiteY12" fmla="*/ 218002 h 370560"/>
                <a:gd name="connsiteX13" fmla="*/ 116365 w 258809"/>
                <a:gd name="connsiteY13" fmla="*/ 201391 h 370560"/>
                <a:gd name="connsiteX14" fmla="*/ 116327 w 258809"/>
                <a:gd name="connsiteY14" fmla="*/ 201286 h 370560"/>
                <a:gd name="connsiteX15" fmla="*/ 116070 w 258809"/>
                <a:gd name="connsiteY15" fmla="*/ 200781 h 370560"/>
                <a:gd name="connsiteX16" fmla="*/ 115870 w 258809"/>
                <a:gd name="connsiteY16" fmla="*/ 200409 h 370560"/>
                <a:gd name="connsiteX17" fmla="*/ 115546 w 258809"/>
                <a:gd name="connsiteY17" fmla="*/ 199990 h 370560"/>
                <a:gd name="connsiteX18" fmla="*/ 115260 w 258809"/>
                <a:gd name="connsiteY18" fmla="*/ 199648 h 370560"/>
                <a:gd name="connsiteX19" fmla="*/ 114879 w 258809"/>
                <a:gd name="connsiteY19" fmla="*/ 199314 h 370560"/>
                <a:gd name="connsiteX20" fmla="*/ 114536 w 258809"/>
                <a:gd name="connsiteY20" fmla="*/ 199038 h 370560"/>
                <a:gd name="connsiteX21" fmla="*/ 114079 w 258809"/>
                <a:gd name="connsiteY21" fmla="*/ 198762 h 370560"/>
                <a:gd name="connsiteX22" fmla="*/ 113717 w 258809"/>
                <a:gd name="connsiteY22" fmla="*/ 198571 h 370560"/>
                <a:gd name="connsiteX23" fmla="*/ 113250 w 258809"/>
                <a:gd name="connsiteY23" fmla="*/ 198409 h 370560"/>
                <a:gd name="connsiteX24" fmla="*/ 112793 w 258809"/>
                <a:gd name="connsiteY24" fmla="*/ 198276 h 370560"/>
                <a:gd name="connsiteX25" fmla="*/ 112384 w 258809"/>
                <a:gd name="connsiteY25" fmla="*/ 198219 h 370560"/>
                <a:gd name="connsiteX26" fmla="*/ 111803 w 258809"/>
                <a:gd name="connsiteY26" fmla="*/ 198152 h 370560"/>
                <a:gd name="connsiteX27" fmla="*/ 111707 w 258809"/>
                <a:gd name="connsiteY27" fmla="*/ 198143 h 370560"/>
                <a:gd name="connsiteX28" fmla="*/ 18648 w 258809"/>
                <a:gd name="connsiteY28" fmla="*/ 198143 h 370560"/>
                <a:gd name="connsiteX29" fmla="*/ 1608 w 258809"/>
                <a:gd name="connsiteY29" fmla="*/ 110103 h 370560"/>
                <a:gd name="connsiteX30" fmla="*/ 84399 w 258809"/>
                <a:gd name="connsiteY30" fmla="*/ 3023 h 370560"/>
                <a:gd name="connsiteX31" fmla="*/ 112212 w 258809"/>
                <a:gd name="connsiteY31" fmla="*/ -101 h 370560"/>
                <a:gd name="connsiteX32" fmla="*/ 192298 w 258809"/>
                <a:gd name="connsiteY32" fmla="*/ 29998 h 370560"/>
                <a:gd name="connsiteX33" fmla="*/ 249610 w 258809"/>
                <a:gd name="connsiteY33" fmla="*/ 181693 h 370560"/>
                <a:gd name="connsiteX34" fmla="*/ 214673 w 258809"/>
                <a:gd name="connsiteY34" fmla="*/ 285011 h 37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58809" h="370560">
                  <a:moveTo>
                    <a:pt x="218806" y="370459"/>
                  </a:moveTo>
                  <a:cubicBezTo>
                    <a:pt x="171124" y="334360"/>
                    <a:pt x="70950" y="281039"/>
                    <a:pt x="24544" y="208068"/>
                  </a:cubicBezTo>
                  <a:lnTo>
                    <a:pt x="108259" y="208068"/>
                  </a:lnTo>
                  <a:lnTo>
                    <a:pt x="123356" y="248825"/>
                  </a:lnTo>
                  <a:lnTo>
                    <a:pt x="166171" y="110855"/>
                  </a:lnTo>
                  <a:lnTo>
                    <a:pt x="212653" y="321987"/>
                  </a:lnTo>
                  <a:lnTo>
                    <a:pt x="255144" y="196323"/>
                  </a:lnTo>
                  <a:lnTo>
                    <a:pt x="258802" y="206001"/>
                  </a:lnTo>
                  <a:lnTo>
                    <a:pt x="258802" y="342751"/>
                  </a:lnTo>
                  <a:cubicBezTo>
                    <a:pt x="243552" y="352914"/>
                    <a:pt x="229789" y="362144"/>
                    <a:pt x="218806" y="370459"/>
                  </a:cubicBezTo>
                  <a:close/>
                  <a:moveTo>
                    <a:pt x="214673" y="285011"/>
                  </a:moveTo>
                  <a:lnTo>
                    <a:pt x="167810" y="72098"/>
                  </a:lnTo>
                  <a:lnTo>
                    <a:pt x="122518" y="218002"/>
                  </a:lnTo>
                  <a:lnTo>
                    <a:pt x="116365" y="201391"/>
                  </a:lnTo>
                  <a:lnTo>
                    <a:pt x="116327" y="201286"/>
                  </a:lnTo>
                  <a:lnTo>
                    <a:pt x="116070" y="200781"/>
                  </a:lnTo>
                  <a:lnTo>
                    <a:pt x="115870" y="200409"/>
                  </a:lnTo>
                  <a:lnTo>
                    <a:pt x="115546" y="199990"/>
                  </a:lnTo>
                  <a:lnTo>
                    <a:pt x="115260" y="199648"/>
                  </a:lnTo>
                  <a:lnTo>
                    <a:pt x="114879" y="199314"/>
                  </a:lnTo>
                  <a:lnTo>
                    <a:pt x="114536" y="199038"/>
                  </a:lnTo>
                  <a:lnTo>
                    <a:pt x="114079" y="198762"/>
                  </a:lnTo>
                  <a:lnTo>
                    <a:pt x="113717" y="198571"/>
                  </a:lnTo>
                  <a:lnTo>
                    <a:pt x="113250" y="198409"/>
                  </a:lnTo>
                  <a:lnTo>
                    <a:pt x="112793" y="198276"/>
                  </a:lnTo>
                  <a:lnTo>
                    <a:pt x="112384" y="198219"/>
                  </a:lnTo>
                  <a:lnTo>
                    <a:pt x="111803" y="198152"/>
                  </a:lnTo>
                  <a:lnTo>
                    <a:pt x="111707" y="198143"/>
                  </a:lnTo>
                  <a:lnTo>
                    <a:pt x="18648" y="198143"/>
                  </a:lnTo>
                  <a:cubicBezTo>
                    <a:pt x="3818" y="171368"/>
                    <a:pt x="-3488" y="142059"/>
                    <a:pt x="1608" y="110103"/>
                  </a:cubicBezTo>
                  <a:cubicBezTo>
                    <a:pt x="11447" y="48352"/>
                    <a:pt x="45080" y="11748"/>
                    <a:pt x="84399" y="3023"/>
                  </a:cubicBezTo>
                  <a:cubicBezTo>
                    <a:pt x="94153" y="851"/>
                    <a:pt x="103421" y="-101"/>
                    <a:pt x="112212" y="-101"/>
                  </a:cubicBezTo>
                  <a:cubicBezTo>
                    <a:pt x="146988" y="-101"/>
                    <a:pt x="174039" y="14948"/>
                    <a:pt x="192298" y="29998"/>
                  </a:cubicBezTo>
                  <a:lnTo>
                    <a:pt x="249610" y="181693"/>
                  </a:lnTo>
                  <a:lnTo>
                    <a:pt x="214673" y="285011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5F3F59D-83FB-0C30-7FB0-BD2FAB4D9DA6}"/>
                </a:ext>
              </a:extLst>
            </p:cNvPr>
            <p:cNvSpPr/>
            <p:nvPr/>
          </p:nvSpPr>
          <p:spPr>
            <a:xfrm>
              <a:off x="3139005" y="1118911"/>
              <a:ext cx="1130031" cy="322530"/>
            </a:xfrm>
            <a:custGeom>
              <a:avLst/>
              <a:gdLst>
                <a:gd name="connsiteX0" fmla="*/ 431999 w 436959"/>
                <a:gd name="connsiteY0" fmla="*/ 125943 h 249888"/>
                <a:gd name="connsiteX1" fmla="*/ 326414 w 436959"/>
                <a:gd name="connsiteY1" fmla="*/ 125943 h 249888"/>
                <a:gd name="connsiteX2" fmla="*/ 326138 w 436959"/>
                <a:gd name="connsiteY2" fmla="*/ 125962 h 249888"/>
                <a:gd name="connsiteX3" fmla="*/ 325652 w 436959"/>
                <a:gd name="connsiteY3" fmla="*/ 126029 h 249888"/>
                <a:gd name="connsiteX4" fmla="*/ 325166 w 436959"/>
                <a:gd name="connsiteY4" fmla="*/ 126114 h 249888"/>
                <a:gd name="connsiteX5" fmla="*/ 324719 w 436959"/>
                <a:gd name="connsiteY5" fmla="*/ 126248 h 249888"/>
                <a:gd name="connsiteX6" fmla="*/ 324261 w 436959"/>
                <a:gd name="connsiteY6" fmla="*/ 126448 h 249888"/>
                <a:gd name="connsiteX7" fmla="*/ 323861 w 436959"/>
                <a:gd name="connsiteY7" fmla="*/ 126676 h 249888"/>
                <a:gd name="connsiteX8" fmla="*/ 323452 w 436959"/>
                <a:gd name="connsiteY8" fmla="*/ 126953 h 249888"/>
                <a:gd name="connsiteX9" fmla="*/ 323099 w 436959"/>
                <a:gd name="connsiteY9" fmla="*/ 127248 h 249888"/>
                <a:gd name="connsiteX10" fmla="*/ 322709 w 436959"/>
                <a:gd name="connsiteY10" fmla="*/ 127629 h 249888"/>
                <a:gd name="connsiteX11" fmla="*/ 322537 w 436959"/>
                <a:gd name="connsiteY11" fmla="*/ 127800 h 249888"/>
                <a:gd name="connsiteX12" fmla="*/ 314422 w 436959"/>
                <a:gd name="connsiteY12" fmla="*/ 137954 h 249888"/>
                <a:gd name="connsiteX13" fmla="*/ 300087 w 436959"/>
                <a:gd name="connsiteY13" fmla="*/ 101578 h 249888"/>
                <a:gd name="connsiteX14" fmla="*/ 283780 w 436959"/>
                <a:gd name="connsiteY14" fmla="*/ 149584 h 249888"/>
                <a:gd name="connsiteX15" fmla="*/ 263082 w 436959"/>
                <a:gd name="connsiteY15" fmla="*/ 68717 h 249888"/>
                <a:gd name="connsiteX16" fmla="*/ 214352 w 436959"/>
                <a:gd name="connsiteY16" fmla="*/ 212811 h 249888"/>
                <a:gd name="connsiteX17" fmla="*/ 167489 w 436959"/>
                <a:gd name="connsiteY17" fmla="*/ -101 h 249888"/>
                <a:gd name="connsiteX18" fmla="*/ 122198 w 436959"/>
                <a:gd name="connsiteY18" fmla="*/ 145803 h 249888"/>
                <a:gd name="connsiteX19" fmla="*/ 116045 w 436959"/>
                <a:gd name="connsiteY19" fmla="*/ 129191 h 249888"/>
                <a:gd name="connsiteX20" fmla="*/ 116007 w 436959"/>
                <a:gd name="connsiteY20" fmla="*/ 129086 h 249888"/>
                <a:gd name="connsiteX21" fmla="*/ 115750 w 436959"/>
                <a:gd name="connsiteY21" fmla="*/ 128581 h 249888"/>
                <a:gd name="connsiteX22" fmla="*/ 115550 w 436959"/>
                <a:gd name="connsiteY22" fmla="*/ 128210 h 249888"/>
                <a:gd name="connsiteX23" fmla="*/ 115226 w 436959"/>
                <a:gd name="connsiteY23" fmla="*/ 127791 h 249888"/>
                <a:gd name="connsiteX24" fmla="*/ 114940 w 436959"/>
                <a:gd name="connsiteY24" fmla="*/ 127448 h 249888"/>
                <a:gd name="connsiteX25" fmla="*/ 114559 w 436959"/>
                <a:gd name="connsiteY25" fmla="*/ 127115 h 249888"/>
                <a:gd name="connsiteX26" fmla="*/ 114216 w 436959"/>
                <a:gd name="connsiteY26" fmla="*/ 126838 h 249888"/>
                <a:gd name="connsiteX27" fmla="*/ 113759 w 436959"/>
                <a:gd name="connsiteY27" fmla="*/ 126562 h 249888"/>
                <a:gd name="connsiteX28" fmla="*/ 113397 w 436959"/>
                <a:gd name="connsiteY28" fmla="*/ 126372 h 249888"/>
                <a:gd name="connsiteX29" fmla="*/ 112930 w 436959"/>
                <a:gd name="connsiteY29" fmla="*/ 126210 h 249888"/>
                <a:gd name="connsiteX30" fmla="*/ 112473 w 436959"/>
                <a:gd name="connsiteY30" fmla="*/ 126076 h 249888"/>
                <a:gd name="connsiteX31" fmla="*/ 112063 w 436959"/>
                <a:gd name="connsiteY31" fmla="*/ 126019 h 249888"/>
                <a:gd name="connsiteX32" fmla="*/ 111482 w 436959"/>
                <a:gd name="connsiteY32" fmla="*/ 125953 h 249888"/>
                <a:gd name="connsiteX33" fmla="*/ 111387 w 436959"/>
                <a:gd name="connsiteY33" fmla="*/ 125943 h 249888"/>
                <a:gd name="connsiteX34" fmla="*/ 4955 w 436959"/>
                <a:gd name="connsiteY34" fmla="*/ 125943 h 249888"/>
                <a:gd name="connsiteX35" fmla="*/ -8 w 436959"/>
                <a:gd name="connsiteY35" fmla="*/ 130906 h 249888"/>
                <a:gd name="connsiteX36" fmla="*/ 4955 w 436959"/>
                <a:gd name="connsiteY36" fmla="*/ 135868 h 249888"/>
                <a:gd name="connsiteX37" fmla="*/ 107939 w 436959"/>
                <a:gd name="connsiteY37" fmla="*/ 135868 h 249888"/>
                <a:gd name="connsiteX38" fmla="*/ 123036 w 436959"/>
                <a:gd name="connsiteY38" fmla="*/ 176626 h 249888"/>
                <a:gd name="connsiteX39" fmla="*/ 165851 w 436959"/>
                <a:gd name="connsiteY39" fmla="*/ 38656 h 249888"/>
                <a:gd name="connsiteX40" fmla="*/ 212333 w 436959"/>
                <a:gd name="connsiteY40" fmla="*/ 249787 h 249888"/>
                <a:gd name="connsiteX41" fmla="*/ 261768 w 436959"/>
                <a:gd name="connsiteY41" fmla="*/ 103597 h 249888"/>
                <a:gd name="connsiteX42" fmla="*/ 282437 w 436959"/>
                <a:gd name="connsiteY42" fmla="*/ 184388 h 249888"/>
                <a:gd name="connsiteX43" fmla="*/ 300782 w 436959"/>
                <a:gd name="connsiteY43" fmla="*/ 130410 h 249888"/>
                <a:gd name="connsiteX44" fmla="*/ 311460 w 436959"/>
                <a:gd name="connsiteY44" fmla="*/ 157528 h 249888"/>
                <a:gd name="connsiteX45" fmla="*/ 328805 w 436959"/>
                <a:gd name="connsiteY45" fmla="*/ 135868 h 249888"/>
                <a:gd name="connsiteX46" fmla="*/ 431999 w 436959"/>
                <a:gd name="connsiteY46" fmla="*/ 135868 h 249888"/>
                <a:gd name="connsiteX47" fmla="*/ 436952 w 436959"/>
                <a:gd name="connsiteY47" fmla="*/ 130906 h 249888"/>
                <a:gd name="connsiteX48" fmla="*/ 431999 w 436959"/>
                <a:gd name="connsiteY48" fmla="*/ 125943 h 249888"/>
                <a:gd name="connsiteX0" fmla="*/ 432007 w 978979"/>
                <a:gd name="connsiteY0" fmla="*/ 126044 h 249888"/>
                <a:gd name="connsiteX1" fmla="*/ 326422 w 978979"/>
                <a:gd name="connsiteY1" fmla="*/ 126044 h 249888"/>
                <a:gd name="connsiteX2" fmla="*/ 326146 w 978979"/>
                <a:gd name="connsiteY2" fmla="*/ 126063 h 249888"/>
                <a:gd name="connsiteX3" fmla="*/ 325660 w 978979"/>
                <a:gd name="connsiteY3" fmla="*/ 126130 h 249888"/>
                <a:gd name="connsiteX4" fmla="*/ 325174 w 978979"/>
                <a:gd name="connsiteY4" fmla="*/ 126215 h 249888"/>
                <a:gd name="connsiteX5" fmla="*/ 324727 w 978979"/>
                <a:gd name="connsiteY5" fmla="*/ 126349 h 249888"/>
                <a:gd name="connsiteX6" fmla="*/ 324269 w 978979"/>
                <a:gd name="connsiteY6" fmla="*/ 126549 h 249888"/>
                <a:gd name="connsiteX7" fmla="*/ 323869 w 978979"/>
                <a:gd name="connsiteY7" fmla="*/ 126777 h 249888"/>
                <a:gd name="connsiteX8" fmla="*/ 323460 w 978979"/>
                <a:gd name="connsiteY8" fmla="*/ 127054 h 249888"/>
                <a:gd name="connsiteX9" fmla="*/ 323107 w 978979"/>
                <a:gd name="connsiteY9" fmla="*/ 127349 h 249888"/>
                <a:gd name="connsiteX10" fmla="*/ 322717 w 978979"/>
                <a:gd name="connsiteY10" fmla="*/ 127730 h 249888"/>
                <a:gd name="connsiteX11" fmla="*/ 322545 w 978979"/>
                <a:gd name="connsiteY11" fmla="*/ 127901 h 249888"/>
                <a:gd name="connsiteX12" fmla="*/ 314430 w 978979"/>
                <a:gd name="connsiteY12" fmla="*/ 138055 h 249888"/>
                <a:gd name="connsiteX13" fmla="*/ 300095 w 978979"/>
                <a:gd name="connsiteY13" fmla="*/ 101679 h 249888"/>
                <a:gd name="connsiteX14" fmla="*/ 283788 w 978979"/>
                <a:gd name="connsiteY14" fmla="*/ 149685 h 249888"/>
                <a:gd name="connsiteX15" fmla="*/ 263090 w 978979"/>
                <a:gd name="connsiteY15" fmla="*/ 68818 h 249888"/>
                <a:gd name="connsiteX16" fmla="*/ 214360 w 978979"/>
                <a:gd name="connsiteY16" fmla="*/ 212912 h 249888"/>
                <a:gd name="connsiteX17" fmla="*/ 167497 w 978979"/>
                <a:gd name="connsiteY17" fmla="*/ 0 h 249888"/>
                <a:gd name="connsiteX18" fmla="*/ 122206 w 978979"/>
                <a:gd name="connsiteY18" fmla="*/ 145904 h 249888"/>
                <a:gd name="connsiteX19" fmla="*/ 116053 w 978979"/>
                <a:gd name="connsiteY19" fmla="*/ 129292 h 249888"/>
                <a:gd name="connsiteX20" fmla="*/ 116015 w 978979"/>
                <a:gd name="connsiteY20" fmla="*/ 129187 h 249888"/>
                <a:gd name="connsiteX21" fmla="*/ 115758 w 978979"/>
                <a:gd name="connsiteY21" fmla="*/ 128682 h 249888"/>
                <a:gd name="connsiteX22" fmla="*/ 115558 w 978979"/>
                <a:gd name="connsiteY22" fmla="*/ 128311 h 249888"/>
                <a:gd name="connsiteX23" fmla="*/ 115234 w 978979"/>
                <a:gd name="connsiteY23" fmla="*/ 127892 h 249888"/>
                <a:gd name="connsiteX24" fmla="*/ 114948 w 978979"/>
                <a:gd name="connsiteY24" fmla="*/ 127549 h 249888"/>
                <a:gd name="connsiteX25" fmla="*/ 114567 w 978979"/>
                <a:gd name="connsiteY25" fmla="*/ 127216 h 249888"/>
                <a:gd name="connsiteX26" fmla="*/ 114224 w 978979"/>
                <a:gd name="connsiteY26" fmla="*/ 126939 h 249888"/>
                <a:gd name="connsiteX27" fmla="*/ 113767 w 978979"/>
                <a:gd name="connsiteY27" fmla="*/ 126663 h 249888"/>
                <a:gd name="connsiteX28" fmla="*/ 113405 w 978979"/>
                <a:gd name="connsiteY28" fmla="*/ 126473 h 249888"/>
                <a:gd name="connsiteX29" fmla="*/ 112938 w 978979"/>
                <a:gd name="connsiteY29" fmla="*/ 126311 h 249888"/>
                <a:gd name="connsiteX30" fmla="*/ 112481 w 978979"/>
                <a:gd name="connsiteY30" fmla="*/ 126177 h 249888"/>
                <a:gd name="connsiteX31" fmla="*/ 112071 w 978979"/>
                <a:gd name="connsiteY31" fmla="*/ 126120 h 249888"/>
                <a:gd name="connsiteX32" fmla="*/ 111490 w 978979"/>
                <a:gd name="connsiteY32" fmla="*/ 126054 h 249888"/>
                <a:gd name="connsiteX33" fmla="*/ 111395 w 978979"/>
                <a:gd name="connsiteY33" fmla="*/ 126044 h 249888"/>
                <a:gd name="connsiteX34" fmla="*/ 4963 w 978979"/>
                <a:gd name="connsiteY34" fmla="*/ 126044 h 249888"/>
                <a:gd name="connsiteX35" fmla="*/ 0 w 978979"/>
                <a:gd name="connsiteY35" fmla="*/ 131007 h 249888"/>
                <a:gd name="connsiteX36" fmla="*/ 4963 w 978979"/>
                <a:gd name="connsiteY36" fmla="*/ 135969 h 249888"/>
                <a:gd name="connsiteX37" fmla="*/ 107947 w 978979"/>
                <a:gd name="connsiteY37" fmla="*/ 135969 h 249888"/>
                <a:gd name="connsiteX38" fmla="*/ 123044 w 978979"/>
                <a:gd name="connsiteY38" fmla="*/ 176727 h 249888"/>
                <a:gd name="connsiteX39" fmla="*/ 165859 w 978979"/>
                <a:gd name="connsiteY39" fmla="*/ 38757 h 249888"/>
                <a:gd name="connsiteX40" fmla="*/ 212341 w 978979"/>
                <a:gd name="connsiteY40" fmla="*/ 249888 h 249888"/>
                <a:gd name="connsiteX41" fmla="*/ 261776 w 978979"/>
                <a:gd name="connsiteY41" fmla="*/ 103698 h 249888"/>
                <a:gd name="connsiteX42" fmla="*/ 282445 w 978979"/>
                <a:gd name="connsiteY42" fmla="*/ 184489 h 249888"/>
                <a:gd name="connsiteX43" fmla="*/ 300790 w 978979"/>
                <a:gd name="connsiteY43" fmla="*/ 130511 h 249888"/>
                <a:gd name="connsiteX44" fmla="*/ 311468 w 978979"/>
                <a:gd name="connsiteY44" fmla="*/ 157629 h 249888"/>
                <a:gd name="connsiteX45" fmla="*/ 328813 w 978979"/>
                <a:gd name="connsiteY45" fmla="*/ 135969 h 249888"/>
                <a:gd name="connsiteX46" fmla="*/ 432007 w 978979"/>
                <a:gd name="connsiteY46" fmla="*/ 135969 h 249888"/>
                <a:gd name="connsiteX47" fmla="*/ 978979 w 978979"/>
                <a:gd name="connsiteY47" fmla="*/ 129205 h 249888"/>
                <a:gd name="connsiteX48" fmla="*/ 432007 w 978979"/>
                <a:gd name="connsiteY48" fmla="*/ 126044 h 24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78979" h="249888">
                  <a:moveTo>
                    <a:pt x="432007" y="126044"/>
                  </a:moveTo>
                  <a:lnTo>
                    <a:pt x="326422" y="126044"/>
                  </a:lnTo>
                  <a:lnTo>
                    <a:pt x="326146" y="126063"/>
                  </a:lnTo>
                  <a:lnTo>
                    <a:pt x="325660" y="126130"/>
                  </a:lnTo>
                  <a:lnTo>
                    <a:pt x="325174" y="126215"/>
                  </a:lnTo>
                  <a:lnTo>
                    <a:pt x="324727" y="126349"/>
                  </a:lnTo>
                  <a:lnTo>
                    <a:pt x="324269" y="126549"/>
                  </a:lnTo>
                  <a:lnTo>
                    <a:pt x="323869" y="126777"/>
                  </a:lnTo>
                  <a:lnTo>
                    <a:pt x="323460" y="127054"/>
                  </a:lnTo>
                  <a:lnTo>
                    <a:pt x="323107" y="127349"/>
                  </a:lnTo>
                  <a:lnTo>
                    <a:pt x="322717" y="127730"/>
                  </a:lnTo>
                  <a:lnTo>
                    <a:pt x="322545" y="127901"/>
                  </a:lnTo>
                  <a:lnTo>
                    <a:pt x="314430" y="138055"/>
                  </a:lnTo>
                  <a:lnTo>
                    <a:pt x="300095" y="101679"/>
                  </a:lnTo>
                  <a:lnTo>
                    <a:pt x="283788" y="149685"/>
                  </a:lnTo>
                  <a:lnTo>
                    <a:pt x="263090" y="68818"/>
                  </a:lnTo>
                  <a:lnTo>
                    <a:pt x="214360" y="212912"/>
                  </a:lnTo>
                  <a:lnTo>
                    <a:pt x="167497" y="0"/>
                  </a:lnTo>
                  <a:lnTo>
                    <a:pt x="122206" y="145904"/>
                  </a:lnTo>
                  <a:lnTo>
                    <a:pt x="116053" y="129292"/>
                  </a:lnTo>
                  <a:cubicBezTo>
                    <a:pt x="116040" y="129257"/>
                    <a:pt x="116028" y="129222"/>
                    <a:pt x="116015" y="129187"/>
                  </a:cubicBezTo>
                  <a:cubicBezTo>
                    <a:pt x="115929" y="129019"/>
                    <a:pt x="115844" y="128850"/>
                    <a:pt x="115758" y="128682"/>
                  </a:cubicBezTo>
                  <a:lnTo>
                    <a:pt x="115558" y="128311"/>
                  </a:lnTo>
                  <a:lnTo>
                    <a:pt x="115234" y="127892"/>
                  </a:lnTo>
                  <a:lnTo>
                    <a:pt x="114948" y="127549"/>
                  </a:lnTo>
                  <a:lnTo>
                    <a:pt x="114567" y="127216"/>
                  </a:lnTo>
                  <a:lnTo>
                    <a:pt x="114224" y="126939"/>
                  </a:lnTo>
                  <a:lnTo>
                    <a:pt x="113767" y="126663"/>
                  </a:lnTo>
                  <a:lnTo>
                    <a:pt x="113405" y="126473"/>
                  </a:lnTo>
                  <a:lnTo>
                    <a:pt x="112938" y="126311"/>
                  </a:lnTo>
                  <a:lnTo>
                    <a:pt x="112481" y="126177"/>
                  </a:lnTo>
                  <a:lnTo>
                    <a:pt x="112071" y="126120"/>
                  </a:lnTo>
                  <a:lnTo>
                    <a:pt x="111490" y="126054"/>
                  </a:lnTo>
                  <a:cubicBezTo>
                    <a:pt x="111458" y="126051"/>
                    <a:pt x="111427" y="126047"/>
                    <a:pt x="111395" y="126044"/>
                  </a:cubicBezTo>
                  <a:lnTo>
                    <a:pt x="4963" y="126044"/>
                  </a:lnTo>
                  <a:cubicBezTo>
                    <a:pt x="2229" y="126044"/>
                    <a:pt x="0" y="128254"/>
                    <a:pt x="0" y="131007"/>
                  </a:cubicBezTo>
                  <a:cubicBezTo>
                    <a:pt x="0" y="133740"/>
                    <a:pt x="2229" y="135969"/>
                    <a:pt x="4963" y="135969"/>
                  </a:cubicBezTo>
                  <a:lnTo>
                    <a:pt x="107947" y="135969"/>
                  </a:lnTo>
                  <a:lnTo>
                    <a:pt x="123044" y="176727"/>
                  </a:lnTo>
                  <a:lnTo>
                    <a:pt x="165859" y="38757"/>
                  </a:lnTo>
                  <a:lnTo>
                    <a:pt x="212341" y="249888"/>
                  </a:lnTo>
                  <a:lnTo>
                    <a:pt x="261776" y="103698"/>
                  </a:lnTo>
                  <a:lnTo>
                    <a:pt x="282445" y="184489"/>
                  </a:lnTo>
                  <a:lnTo>
                    <a:pt x="300790" y="130511"/>
                  </a:lnTo>
                  <a:lnTo>
                    <a:pt x="311468" y="157629"/>
                  </a:lnTo>
                  <a:lnTo>
                    <a:pt x="328813" y="135969"/>
                  </a:lnTo>
                  <a:lnTo>
                    <a:pt x="432007" y="135969"/>
                  </a:lnTo>
                  <a:cubicBezTo>
                    <a:pt x="434750" y="135969"/>
                    <a:pt x="978979" y="131938"/>
                    <a:pt x="978979" y="129205"/>
                  </a:cubicBezTo>
                  <a:cubicBezTo>
                    <a:pt x="978979" y="126452"/>
                    <a:pt x="434750" y="126044"/>
                    <a:pt x="432007" y="126044"/>
                  </a:cubicBezTo>
                  <a:close/>
                </a:path>
              </a:pathLst>
            </a:custGeom>
            <a:solidFill>
              <a:srgbClr val="E5546C"/>
            </a:solidFill>
            <a:ln w="9525" cap="flat">
              <a:solidFill>
                <a:srgbClr val="E5546C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9FB2386-485B-BA9A-014D-40D430A632ED}"/>
                </a:ext>
              </a:extLst>
            </p:cNvPr>
            <p:cNvSpPr/>
            <p:nvPr/>
          </p:nvSpPr>
          <p:spPr>
            <a:xfrm>
              <a:off x="3139014" y="1119042"/>
              <a:ext cx="294150" cy="322530"/>
            </a:xfrm>
            <a:custGeom>
              <a:avLst/>
              <a:gdLst>
                <a:gd name="connsiteX0" fmla="*/ 212333 w 254831"/>
                <a:gd name="connsiteY0" fmla="*/ 249787 h 249888"/>
                <a:gd name="connsiteX1" fmla="*/ 165851 w 254831"/>
                <a:gd name="connsiteY1" fmla="*/ 38656 h 249888"/>
                <a:gd name="connsiteX2" fmla="*/ 123036 w 254831"/>
                <a:gd name="connsiteY2" fmla="*/ 176626 h 249888"/>
                <a:gd name="connsiteX3" fmla="*/ 107939 w 254831"/>
                <a:gd name="connsiteY3" fmla="*/ 135868 h 249888"/>
                <a:gd name="connsiteX4" fmla="*/ 4955 w 254831"/>
                <a:gd name="connsiteY4" fmla="*/ 135868 h 249888"/>
                <a:gd name="connsiteX5" fmla="*/ -8 w 254831"/>
                <a:gd name="connsiteY5" fmla="*/ 130906 h 249888"/>
                <a:gd name="connsiteX6" fmla="*/ 4955 w 254831"/>
                <a:gd name="connsiteY6" fmla="*/ 125943 h 249888"/>
                <a:gd name="connsiteX7" fmla="*/ 111387 w 254831"/>
                <a:gd name="connsiteY7" fmla="*/ 125943 h 249888"/>
                <a:gd name="connsiteX8" fmla="*/ 111482 w 254831"/>
                <a:gd name="connsiteY8" fmla="*/ 125953 h 249888"/>
                <a:gd name="connsiteX9" fmla="*/ 112063 w 254831"/>
                <a:gd name="connsiteY9" fmla="*/ 126019 h 249888"/>
                <a:gd name="connsiteX10" fmla="*/ 112473 w 254831"/>
                <a:gd name="connsiteY10" fmla="*/ 126076 h 249888"/>
                <a:gd name="connsiteX11" fmla="*/ 112930 w 254831"/>
                <a:gd name="connsiteY11" fmla="*/ 126210 h 249888"/>
                <a:gd name="connsiteX12" fmla="*/ 113397 w 254831"/>
                <a:gd name="connsiteY12" fmla="*/ 126372 h 249888"/>
                <a:gd name="connsiteX13" fmla="*/ 113759 w 254831"/>
                <a:gd name="connsiteY13" fmla="*/ 126562 h 249888"/>
                <a:gd name="connsiteX14" fmla="*/ 114216 w 254831"/>
                <a:gd name="connsiteY14" fmla="*/ 126838 h 249888"/>
                <a:gd name="connsiteX15" fmla="*/ 114559 w 254831"/>
                <a:gd name="connsiteY15" fmla="*/ 127115 h 249888"/>
                <a:gd name="connsiteX16" fmla="*/ 114940 w 254831"/>
                <a:gd name="connsiteY16" fmla="*/ 127448 h 249888"/>
                <a:gd name="connsiteX17" fmla="*/ 115226 w 254831"/>
                <a:gd name="connsiteY17" fmla="*/ 127791 h 249888"/>
                <a:gd name="connsiteX18" fmla="*/ 115550 w 254831"/>
                <a:gd name="connsiteY18" fmla="*/ 128210 h 249888"/>
                <a:gd name="connsiteX19" fmla="*/ 115750 w 254831"/>
                <a:gd name="connsiteY19" fmla="*/ 128581 h 249888"/>
                <a:gd name="connsiteX20" fmla="*/ 116007 w 254831"/>
                <a:gd name="connsiteY20" fmla="*/ 129086 h 249888"/>
                <a:gd name="connsiteX21" fmla="*/ 116045 w 254831"/>
                <a:gd name="connsiteY21" fmla="*/ 129191 h 249888"/>
                <a:gd name="connsiteX22" fmla="*/ 122198 w 254831"/>
                <a:gd name="connsiteY22" fmla="*/ 145803 h 249888"/>
                <a:gd name="connsiteX23" fmla="*/ 167489 w 254831"/>
                <a:gd name="connsiteY23" fmla="*/ -101 h 249888"/>
                <a:gd name="connsiteX24" fmla="*/ 214352 w 254831"/>
                <a:gd name="connsiteY24" fmla="*/ 212811 h 249888"/>
                <a:gd name="connsiteX25" fmla="*/ 249290 w 254831"/>
                <a:gd name="connsiteY25" fmla="*/ 109493 h 249888"/>
                <a:gd name="connsiteX26" fmla="*/ 254824 w 254831"/>
                <a:gd name="connsiteY26" fmla="*/ 124124 h 249888"/>
                <a:gd name="connsiteX27" fmla="*/ 212333 w 254831"/>
                <a:gd name="connsiteY27" fmla="*/ 249787 h 24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54831" h="249888">
                  <a:moveTo>
                    <a:pt x="212333" y="249787"/>
                  </a:moveTo>
                  <a:lnTo>
                    <a:pt x="165851" y="38656"/>
                  </a:lnTo>
                  <a:lnTo>
                    <a:pt x="123036" y="176626"/>
                  </a:lnTo>
                  <a:lnTo>
                    <a:pt x="107939" y="135868"/>
                  </a:lnTo>
                  <a:lnTo>
                    <a:pt x="4955" y="135868"/>
                  </a:lnTo>
                  <a:cubicBezTo>
                    <a:pt x="2221" y="135868"/>
                    <a:pt x="-8" y="133639"/>
                    <a:pt x="-8" y="130906"/>
                  </a:cubicBezTo>
                  <a:cubicBezTo>
                    <a:pt x="-8" y="128153"/>
                    <a:pt x="2221" y="125943"/>
                    <a:pt x="4955" y="125943"/>
                  </a:cubicBezTo>
                  <a:lnTo>
                    <a:pt x="111387" y="125943"/>
                  </a:lnTo>
                  <a:lnTo>
                    <a:pt x="111482" y="125953"/>
                  </a:lnTo>
                  <a:lnTo>
                    <a:pt x="112063" y="126019"/>
                  </a:lnTo>
                  <a:lnTo>
                    <a:pt x="112473" y="126076"/>
                  </a:lnTo>
                  <a:lnTo>
                    <a:pt x="112930" y="126210"/>
                  </a:lnTo>
                  <a:lnTo>
                    <a:pt x="113397" y="126372"/>
                  </a:lnTo>
                  <a:lnTo>
                    <a:pt x="113759" y="126562"/>
                  </a:lnTo>
                  <a:lnTo>
                    <a:pt x="114216" y="126838"/>
                  </a:lnTo>
                  <a:lnTo>
                    <a:pt x="114559" y="127115"/>
                  </a:lnTo>
                  <a:lnTo>
                    <a:pt x="114940" y="127448"/>
                  </a:lnTo>
                  <a:lnTo>
                    <a:pt x="115226" y="127791"/>
                  </a:lnTo>
                  <a:lnTo>
                    <a:pt x="115550" y="128210"/>
                  </a:lnTo>
                  <a:lnTo>
                    <a:pt x="115750" y="128581"/>
                  </a:lnTo>
                  <a:lnTo>
                    <a:pt x="116007" y="129086"/>
                  </a:lnTo>
                  <a:lnTo>
                    <a:pt x="116045" y="129191"/>
                  </a:lnTo>
                  <a:lnTo>
                    <a:pt x="122198" y="145803"/>
                  </a:lnTo>
                  <a:lnTo>
                    <a:pt x="167489" y="-101"/>
                  </a:lnTo>
                  <a:lnTo>
                    <a:pt x="214352" y="212811"/>
                  </a:lnTo>
                  <a:lnTo>
                    <a:pt x="249290" y="109493"/>
                  </a:lnTo>
                  <a:lnTo>
                    <a:pt x="254824" y="124124"/>
                  </a:lnTo>
                  <a:lnTo>
                    <a:pt x="212333" y="249787"/>
                  </a:lnTo>
                  <a:close/>
                </a:path>
              </a:pathLst>
            </a:custGeom>
            <a:solidFill>
              <a:srgbClr val="E5546C"/>
            </a:solidFill>
            <a:ln w="9525" cap="flat">
              <a:solidFill>
                <a:srgbClr val="E5546C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D2C9303-1395-C6FF-B49B-41468D517874}"/>
                </a:ext>
              </a:extLst>
            </p:cNvPr>
            <p:cNvCxnSpPr>
              <a:cxnSpLocks/>
            </p:cNvCxnSpPr>
            <p:nvPr/>
          </p:nvCxnSpPr>
          <p:spPr>
            <a:xfrm>
              <a:off x="3637669" y="1288447"/>
              <a:ext cx="1286019" cy="0"/>
            </a:xfrm>
            <a:prstGeom prst="line">
              <a:avLst/>
            </a:prstGeom>
            <a:ln w="28575" cap="flat">
              <a:solidFill>
                <a:srgbClr val="E5546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81A7C9B1-82FA-C52F-4A52-CAA1C7D31899}"/>
                </a:ext>
              </a:extLst>
            </p:cNvPr>
            <p:cNvSpPr/>
            <p:nvPr/>
          </p:nvSpPr>
          <p:spPr>
            <a:xfrm>
              <a:off x="3639398" y="1219119"/>
              <a:ext cx="37213" cy="12935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E913148-96E6-8DC7-8C43-C3F7A71EC4B8}"/>
              </a:ext>
            </a:extLst>
          </p:cNvPr>
          <p:cNvGrpSpPr/>
          <p:nvPr/>
        </p:nvGrpSpPr>
        <p:grpSpPr>
          <a:xfrm>
            <a:off x="9856089" y="5806737"/>
            <a:ext cx="1766358" cy="478909"/>
            <a:chOff x="7659294" y="1371820"/>
            <a:chExt cx="1766358" cy="478909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C3D9E63-19E8-4E9D-8EE4-ECD4F12D46C6}"/>
                </a:ext>
              </a:extLst>
            </p:cNvPr>
            <p:cNvSpPr/>
            <p:nvPr/>
          </p:nvSpPr>
          <p:spPr>
            <a:xfrm>
              <a:off x="8920520" y="1371820"/>
              <a:ext cx="505132" cy="478908"/>
            </a:xfrm>
            <a:custGeom>
              <a:avLst/>
              <a:gdLst>
                <a:gd name="connsiteX0" fmla="*/ 435986 w 437610"/>
                <a:gd name="connsiteY0" fmla="*/ 110588 h 371045"/>
                <a:gd name="connsiteX1" fmla="*/ 331344 w 437610"/>
                <a:gd name="connsiteY1" fmla="*/ 422 h 371045"/>
                <a:gd name="connsiteX2" fmla="*/ 218806 w 437610"/>
                <a:gd name="connsiteY2" fmla="*/ 59020 h 371045"/>
                <a:gd name="connsiteX3" fmla="*/ 84399 w 437610"/>
                <a:gd name="connsiteY3" fmla="*/ 3508 h 371045"/>
                <a:gd name="connsiteX4" fmla="*/ 1608 w 437610"/>
                <a:gd name="connsiteY4" fmla="*/ 110588 h 371045"/>
                <a:gd name="connsiteX5" fmla="*/ 218806 w 437610"/>
                <a:gd name="connsiteY5" fmla="*/ 370945 h 371045"/>
                <a:gd name="connsiteX6" fmla="*/ 435986 w 437610"/>
                <a:gd name="connsiteY6" fmla="*/ 110588 h 371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610" h="371045">
                  <a:moveTo>
                    <a:pt x="435986" y="110588"/>
                  </a:moveTo>
                  <a:cubicBezTo>
                    <a:pt x="424346" y="37493"/>
                    <a:pt x="378741" y="4308"/>
                    <a:pt x="331344" y="422"/>
                  </a:cubicBezTo>
                  <a:cubicBezTo>
                    <a:pt x="252887" y="-5988"/>
                    <a:pt x="225655" y="48399"/>
                    <a:pt x="218806" y="59020"/>
                  </a:cubicBezTo>
                  <a:cubicBezTo>
                    <a:pt x="211939" y="48399"/>
                    <a:pt x="164047" y="-14161"/>
                    <a:pt x="84399" y="3508"/>
                  </a:cubicBezTo>
                  <a:cubicBezTo>
                    <a:pt x="45080" y="12233"/>
                    <a:pt x="11447" y="48838"/>
                    <a:pt x="1608" y="110588"/>
                  </a:cubicBezTo>
                  <a:cubicBezTo>
                    <a:pt x="-18347" y="235737"/>
                    <a:pt x="151903" y="320291"/>
                    <a:pt x="218806" y="370945"/>
                  </a:cubicBezTo>
                  <a:cubicBezTo>
                    <a:pt x="285691" y="320291"/>
                    <a:pt x="455950" y="235737"/>
                    <a:pt x="435986" y="110588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B9F4F6E-B6C0-A8D4-4673-EE6F9565B704}"/>
                </a:ext>
              </a:extLst>
            </p:cNvPr>
            <p:cNvSpPr/>
            <p:nvPr/>
          </p:nvSpPr>
          <p:spPr>
            <a:xfrm>
              <a:off x="8920520" y="1372448"/>
              <a:ext cx="298742" cy="478281"/>
            </a:xfrm>
            <a:custGeom>
              <a:avLst/>
              <a:gdLst>
                <a:gd name="connsiteX0" fmla="*/ 218806 w 258809"/>
                <a:gd name="connsiteY0" fmla="*/ 370459 h 370560"/>
                <a:gd name="connsiteX1" fmla="*/ 24544 w 258809"/>
                <a:gd name="connsiteY1" fmla="*/ 208068 h 370560"/>
                <a:gd name="connsiteX2" fmla="*/ 108259 w 258809"/>
                <a:gd name="connsiteY2" fmla="*/ 208068 h 370560"/>
                <a:gd name="connsiteX3" fmla="*/ 123356 w 258809"/>
                <a:gd name="connsiteY3" fmla="*/ 248825 h 370560"/>
                <a:gd name="connsiteX4" fmla="*/ 166171 w 258809"/>
                <a:gd name="connsiteY4" fmla="*/ 110855 h 370560"/>
                <a:gd name="connsiteX5" fmla="*/ 212653 w 258809"/>
                <a:gd name="connsiteY5" fmla="*/ 321987 h 370560"/>
                <a:gd name="connsiteX6" fmla="*/ 255144 w 258809"/>
                <a:gd name="connsiteY6" fmla="*/ 196323 h 370560"/>
                <a:gd name="connsiteX7" fmla="*/ 258802 w 258809"/>
                <a:gd name="connsiteY7" fmla="*/ 206001 h 370560"/>
                <a:gd name="connsiteX8" fmla="*/ 258802 w 258809"/>
                <a:gd name="connsiteY8" fmla="*/ 342751 h 370560"/>
                <a:gd name="connsiteX9" fmla="*/ 218806 w 258809"/>
                <a:gd name="connsiteY9" fmla="*/ 370459 h 370560"/>
                <a:gd name="connsiteX10" fmla="*/ 214673 w 258809"/>
                <a:gd name="connsiteY10" fmla="*/ 285011 h 370560"/>
                <a:gd name="connsiteX11" fmla="*/ 167810 w 258809"/>
                <a:gd name="connsiteY11" fmla="*/ 72098 h 370560"/>
                <a:gd name="connsiteX12" fmla="*/ 122518 w 258809"/>
                <a:gd name="connsiteY12" fmla="*/ 218002 h 370560"/>
                <a:gd name="connsiteX13" fmla="*/ 116365 w 258809"/>
                <a:gd name="connsiteY13" fmla="*/ 201391 h 370560"/>
                <a:gd name="connsiteX14" fmla="*/ 116327 w 258809"/>
                <a:gd name="connsiteY14" fmla="*/ 201286 h 370560"/>
                <a:gd name="connsiteX15" fmla="*/ 116070 w 258809"/>
                <a:gd name="connsiteY15" fmla="*/ 200781 h 370560"/>
                <a:gd name="connsiteX16" fmla="*/ 115870 w 258809"/>
                <a:gd name="connsiteY16" fmla="*/ 200409 h 370560"/>
                <a:gd name="connsiteX17" fmla="*/ 115546 w 258809"/>
                <a:gd name="connsiteY17" fmla="*/ 199990 h 370560"/>
                <a:gd name="connsiteX18" fmla="*/ 115260 w 258809"/>
                <a:gd name="connsiteY18" fmla="*/ 199648 h 370560"/>
                <a:gd name="connsiteX19" fmla="*/ 114879 w 258809"/>
                <a:gd name="connsiteY19" fmla="*/ 199314 h 370560"/>
                <a:gd name="connsiteX20" fmla="*/ 114536 w 258809"/>
                <a:gd name="connsiteY20" fmla="*/ 199038 h 370560"/>
                <a:gd name="connsiteX21" fmla="*/ 114079 w 258809"/>
                <a:gd name="connsiteY21" fmla="*/ 198762 h 370560"/>
                <a:gd name="connsiteX22" fmla="*/ 113717 w 258809"/>
                <a:gd name="connsiteY22" fmla="*/ 198571 h 370560"/>
                <a:gd name="connsiteX23" fmla="*/ 113250 w 258809"/>
                <a:gd name="connsiteY23" fmla="*/ 198409 h 370560"/>
                <a:gd name="connsiteX24" fmla="*/ 112793 w 258809"/>
                <a:gd name="connsiteY24" fmla="*/ 198276 h 370560"/>
                <a:gd name="connsiteX25" fmla="*/ 112384 w 258809"/>
                <a:gd name="connsiteY25" fmla="*/ 198219 h 370560"/>
                <a:gd name="connsiteX26" fmla="*/ 111803 w 258809"/>
                <a:gd name="connsiteY26" fmla="*/ 198152 h 370560"/>
                <a:gd name="connsiteX27" fmla="*/ 111707 w 258809"/>
                <a:gd name="connsiteY27" fmla="*/ 198143 h 370560"/>
                <a:gd name="connsiteX28" fmla="*/ 18648 w 258809"/>
                <a:gd name="connsiteY28" fmla="*/ 198143 h 370560"/>
                <a:gd name="connsiteX29" fmla="*/ 1608 w 258809"/>
                <a:gd name="connsiteY29" fmla="*/ 110103 h 370560"/>
                <a:gd name="connsiteX30" fmla="*/ 84399 w 258809"/>
                <a:gd name="connsiteY30" fmla="*/ 3023 h 370560"/>
                <a:gd name="connsiteX31" fmla="*/ 112212 w 258809"/>
                <a:gd name="connsiteY31" fmla="*/ -101 h 370560"/>
                <a:gd name="connsiteX32" fmla="*/ 192298 w 258809"/>
                <a:gd name="connsiteY32" fmla="*/ 29998 h 370560"/>
                <a:gd name="connsiteX33" fmla="*/ 249610 w 258809"/>
                <a:gd name="connsiteY33" fmla="*/ 181693 h 370560"/>
                <a:gd name="connsiteX34" fmla="*/ 214673 w 258809"/>
                <a:gd name="connsiteY34" fmla="*/ 285011 h 37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58809" h="370560">
                  <a:moveTo>
                    <a:pt x="218806" y="370459"/>
                  </a:moveTo>
                  <a:cubicBezTo>
                    <a:pt x="171124" y="334360"/>
                    <a:pt x="70950" y="281039"/>
                    <a:pt x="24544" y="208068"/>
                  </a:cubicBezTo>
                  <a:lnTo>
                    <a:pt x="108259" y="208068"/>
                  </a:lnTo>
                  <a:lnTo>
                    <a:pt x="123356" y="248825"/>
                  </a:lnTo>
                  <a:lnTo>
                    <a:pt x="166171" y="110855"/>
                  </a:lnTo>
                  <a:lnTo>
                    <a:pt x="212653" y="321987"/>
                  </a:lnTo>
                  <a:lnTo>
                    <a:pt x="255144" y="196323"/>
                  </a:lnTo>
                  <a:lnTo>
                    <a:pt x="258802" y="206001"/>
                  </a:lnTo>
                  <a:lnTo>
                    <a:pt x="258802" y="342751"/>
                  </a:lnTo>
                  <a:cubicBezTo>
                    <a:pt x="243552" y="352914"/>
                    <a:pt x="229789" y="362144"/>
                    <a:pt x="218806" y="370459"/>
                  </a:cubicBezTo>
                  <a:close/>
                  <a:moveTo>
                    <a:pt x="214673" y="285011"/>
                  </a:moveTo>
                  <a:lnTo>
                    <a:pt x="167810" y="72098"/>
                  </a:lnTo>
                  <a:lnTo>
                    <a:pt x="122518" y="218002"/>
                  </a:lnTo>
                  <a:lnTo>
                    <a:pt x="116365" y="201391"/>
                  </a:lnTo>
                  <a:lnTo>
                    <a:pt x="116327" y="201286"/>
                  </a:lnTo>
                  <a:lnTo>
                    <a:pt x="116070" y="200781"/>
                  </a:lnTo>
                  <a:lnTo>
                    <a:pt x="115870" y="200409"/>
                  </a:lnTo>
                  <a:lnTo>
                    <a:pt x="115546" y="199990"/>
                  </a:lnTo>
                  <a:lnTo>
                    <a:pt x="115260" y="199648"/>
                  </a:lnTo>
                  <a:lnTo>
                    <a:pt x="114879" y="199314"/>
                  </a:lnTo>
                  <a:lnTo>
                    <a:pt x="114536" y="199038"/>
                  </a:lnTo>
                  <a:lnTo>
                    <a:pt x="114079" y="198762"/>
                  </a:lnTo>
                  <a:lnTo>
                    <a:pt x="113717" y="198571"/>
                  </a:lnTo>
                  <a:lnTo>
                    <a:pt x="113250" y="198409"/>
                  </a:lnTo>
                  <a:lnTo>
                    <a:pt x="112793" y="198276"/>
                  </a:lnTo>
                  <a:lnTo>
                    <a:pt x="112384" y="198219"/>
                  </a:lnTo>
                  <a:lnTo>
                    <a:pt x="111803" y="198152"/>
                  </a:lnTo>
                  <a:lnTo>
                    <a:pt x="111707" y="198143"/>
                  </a:lnTo>
                  <a:lnTo>
                    <a:pt x="18648" y="198143"/>
                  </a:lnTo>
                  <a:cubicBezTo>
                    <a:pt x="3818" y="171368"/>
                    <a:pt x="-3488" y="142059"/>
                    <a:pt x="1608" y="110103"/>
                  </a:cubicBezTo>
                  <a:cubicBezTo>
                    <a:pt x="11447" y="48352"/>
                    <a:pt x="45080" y="11748"/>
                    <a:pt x="84399" y="3023"/>
                  </a:cubicBezTo>
                  <a:cubicBezTo>
                    <a:pt x="94153" y="851"/>
                    <a:pt x="103421" y="-101"/>
                    <a:pt x="112212" y="-101"/>
                  </a:cubicBezTo>
                  <a:cubicBezTo>
                    <a:pt x="146988" y="-101"/>
                    <a:pt x="174039" y="14948"/>
                    <a:pt x="192298" y="29998"/>
                  </a:cubicBezTo>
                  <a:lnTo>
                    <a:pt x="249610" y="181693"/>
                  </a:lnTo>
                  <a:lnTo>
                    <a:pt x="214673" y="285011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53D760F-550C-BF18-9254-7D3EBDD5D76F}"/>
                </a:ext>
              </a:extLst>
            </p:cNvPr>
            <p:cNvSpPr/>
            <p:nvPr/>
          </p:nvSpPr>
          <p:spPr>
            <a:xfrm>
              <a:off x="8948789" y="1465504"/>
              <a:ext cx="439630" cy="322530"/>
            </a:xfrm>
            <a:custGeom>
              <a:avLst/>
              <a:gdLst>
                <a:gd name="connsiteX0" fmla="*/ 431999 w 436959"/>
                <a:gd name="connsiteY0" fmla="*/ 125943 h 249888"/>
                <a:gd name="connsiteX1" fmla="*/ 326414 w 436959"/>
                <a:gd name="connsiteY1" fmla="*/ 125943 h 249888"/>
                <a:gd name="connsiteX2" fmla="*/ 326138 w 436959"/>
                <a:gd name="connsiteY2" fmla="*/ 125962 h 249888"/>
                <a:gd name="connsiteX3" fmla="*/ 325652 w 436959"/>
                <a:gd name="connsiteY3" fmla="*/ 126029 h 249888"/>
                <a:gd name="connsiteX4" fmla="*/ 325166 w 436959"/>
                <a:gd name="connsiteY4" fmla="*/ 126114 h 249888"/>
                <a:gd name="connsiteX5" fmla="*/ 324719 w 436959"/>
                <a:gd name="connsiteY5" fmla="*/ 126248 h 249888"/>
                <a:gd name="connsiteX6" fmla="*/ 324261 w 436959"/>
                <a:gd name="connsiteY6" fmla="*/ 126448 h 249888"/>
                <a:gd name="connsiteX7" fmla="*/ 323861 w 436959"/>
                <a:gd name="connsiteY7" fmla="*/ 126676 h 249888"/>
                <a:gd name="connsiteX8" fmla="*/ 323452 w 436959"/>
                <a:gd name="connsiteY8" fmla="*/ 126953 h 249888"/>
                <a:gd name="connsiteX9" fmla="*/ 323099 w 436959"/>
                <a:gd name="connsiteY9" fmla="*/ 127248 h 249888"/>
                <a:gd name="connsiteX10" fmla="*/ 322709 w 436959"/>
                <a:gd name="connsiteY10" fmla="*/ 127629 h 249888"/>
                <a:gd name="connsiteX11" fmla="*/ 322537 w 436959"/>
                <a:gd name="connsiteY11" fmla="*/ 127800 h 249888"/>
                <a:gd name="connsiteX12" fmla="*/ 314422 w 436959"/>
                <a:gd name="connsiteY12" fmla="*/ 137954 h 249888"/>
                <a:gd name="connsiteX13" fmla="*/ 300087 w 436959"/>
                <a:gd name="connsiteY13" fmla="*/ 101578 h 249888"/>
                <a:gd name="connsiteX14" fmla="*/ 283780 w 436959"/>
                <a:gd name="connsiteY14" fmla="*/ 149584 h 249888"/>
                <a:gd name="connsiteX15" fmla="*/ 263082 w 436959"/>
                <a:gd name="connsiteY15" fmla="*/ 68717 h 249888"/>
                <a:gd name="connsiteX16" fmla="*/ 214352 w 436959"/>
                <a:gd name="connsiteY16" fmla="*/ 212811 h 249888"/>
                <a:gd name="connsiteX17" fmla="*/ 167489 w 436959"/>
                <a:gd name="connsiteY17" fmla="*/ -101 h 249888"/>
                <a:gd name="connsiteX18" fmla="*/ 122198 w 436959"/>
                <a:gd name="connsiteY18" fmla="*/ 145803 h 249888"/>
                <a:gd name="connsiteX19" fmla="*/ 116045 w 436959"/>
                <a:gd name="connsiteY19" fmla="*/ 129191 h 249888"/>
                <a:gd name="connsiteX20" fmla="*/ 116007 w 436959"/>
                <a:gd name="connsiteY20" fmla="*/ 129086 h 249888"/>
                <a:gd name="connsiteX21" fmla="*/ 115750 w 436959"/>
                <a:gd name="connsiteY21" fmla="*/ 128581 h 249888"/>
                <a:gd name="connsiteX22" fmla="*/ 115550 w 436959"/>
                <a:gd name="connsiteY22" fmla="*/ 128210 h 249888"/>
                <a:gd name="connsiteX23" fmla="*/ 115226 w 436959"/>
                <a:gd name="connsiteY23" fmla="*/ 127791 h 249888"/>
                <a:gd name="connsiteX24" fmla="*/ 114940 w 436959"/>
                <a:gd name="connsiteY24" fmla="*/ 127448 h 249888"/>
                <a:gd name="connsiteX25" fmla="*/ 114559 w 436959"/>
                <a:gd name="connsiteY25" fmla="*/ 127115 h 249888"/>
                <a:gd name="connsiteX26" fmla="*/ 114216 w 436959"/>
                <a:gd name="connsiteY26" fmla="*/ 126838 h 249888"/>
                <a:gd name="connsiteX27" fmla="*/ 113759 w 436959"/>
                <a:gd name="connsiteY27" fmla="*/ 126562 h 249888"/>
                <a:gd name="connsiteX28" fmla="*/ 113397 w 436959"/>
                <a:gd name="connsiteY28" fmla="*/ 126372 h 249888"/>
                <a:gd name="connsiteX29" fmla="*/ 112930 w 436959"/>
                <a:gd name="connsiteY29" fmla="*/ 126210 h 249888"/>
                <a:gd name="connsiteX30" fmla="*/ 112473 w 436959"/>
                <a:gd name="connsiteY30" fmla="*/ 126076 h 249888"/>
                <a:gd name="connsiteX31" fmla="*/ 112063 w 436959"/>
                <a:gd name="connsiteY31" fmla="*/ 126019 h 249888"/>
                <a:gd name="connsiteX32" fmla="*/ 111482 w 436959"/>
                <a:gd name="connsiteY32" fmla="*/ 125953 h 249888"/>
                <a:gd name="connsiteX33" fmla="*/ 111387 w 436959"/>
                <a:gd name="connsiteY33" fmla="*/ 125943 h 249888"/>
                <a:gd name="connsiteX34" fmla="*/ 4955 w 436959"/>
                <a:gd name="connsiteY34" fmla="*/ 125943 h 249888"/>
                <a:gd name="connsiteX35" fmla="*/ -8 w 436959"/>
                <a:gd name="connsiteY35" fmla="*/ 130906 h 249888"/>
                <a:gd name="connsiteX36" fmla="*/ 4955 w 436959"/>
                <a:gd name="connsiteY36" fmla="*/ 135868 h 249888"/>
                <a:gd name="connsiteX37" fmla="*/ 107939 w 436959"/>
                <a:gd name="connsiteY37" fmla="*/ 135868 h 249888"/>
                <a:gd name="connsiteX38" fmla="*/ 123036 w 436959"/>
                <a:gd name="connsiteY38" fmla="*/ 176626 h 249888"/>
                <a:gd name="connsiteX39" fmla="*/ 165851 w 436959"/>
                <a:gd name="connsiteY39" fmla="*/ 38656 h 249888"/>
                <a:gd name="connsiteX40" fmla="*/ 212333 w 436959"/>
                <a:gd name="connsiteY40" fmla="*/ 249787 h 249888"/>
                <a:gd name="connsiteX41" fmla="*/ 261768 w 436959"/>
                <a:gd name="connsiteY41" fmla="*/ 103597 h 249888"/>
                <a:gd name="connsiteX42" fmla="*/ 282437 w 436959"/>
                <a:gd name="connsiteY42" fmla="*/ 184388 h 249888"/>
                <a:gd name="connsiteX43" fmla="*/ 300782 w 436959"/>
                <a:gd name="connsiteY43" fmla="*/ 130410 h 249888"/>
                <a:gd name="connsiteX44" fmla="*/ 311460 w 436959"/>
                <a:gd name="connsiteY44" fmla="*/ 157528 h 249888"/>
                <a:gd name="connsiteX45" fmla="*/ 328805 w 436959"/>
                <a:gd name="connsiteY45" fmla="*/ 135868 h 249888"/>
                <a:gd name="connsiteX46" fmla="*/ 431999 w 436959"/>
                <a:gd name="connsiteY46" fmla="*/ 135868 h 249888"/>
                <a:gd name="connsiteX47" fmla="*/ 436952 w 436959"/>
                <a:gd name="connsiteY47" fmla="*/ 130906 h 249888"/>
                <a:gd name="connsiteX48" fmla="*/ 431999 w 436959"/>
                <a:gd name="connsiteY48" fmla="*/ 125943 h 249888"/>
                <a:gd name="connsiteX0" fmla="*/ 432007 w 978979"/>
                <a:gd name="connsiteY0" fmla="*/ 126044 h 249888"/>
                <a:gd name="connsiteX1" fmla="*/ 326422 w 978979"/>
                <a:gd name="connsiteY1" fmla="*/ 126044 h 249888"/>
                <a:gd name="connsiteX2" fmla="*/ 326146 w 978979"/>
                <a:gd name="connsiteY2" fmla="*/ 126063 h 249888"/>
                <a:gd name="connsiteX3" fmla="*/ 325660 w 978979"/>
                <a:gd name="connsiteY3" fmla="*/ 126130 h 249888"/>
                <a:gd name="connsiteX4" fmla="*/ 325174 w 978979"/>
                <a:gd name="connsiteY4" fmla="*/ 126215 h 249888"/>
                <a:gd name="connsiteX5" fmla="*/ 324727 w 978979"/>
                <a:gd name="connsiteY5" fmla="*/ 126349 h 249888"/>
                <a:gd name="connsiteX6" fmla="*/ 324269 w 978979"/>
                <a:gd name="connsiteY6" fmla="*/ 126549 h 249888"/>
                <a:gd name="connsiteX7" fmla="*/ 323869 w 978979"/>
                <a:gd name="connsiteY7" fmla="*/ 126777 h 249888"/>
                <a:gd name="connsiteX8" fmla="*/ 323460 w 978979"/>
                <a:gd name="connsiteY8" fmla="*/ 127054 h 249888"/>
                <a:gd name="connsiteX9" fmla="*/ 323107 w 978979"/>
                <a:gd name="connsiteY9" fmla="*/ 127349 h 249888"/>
                <a:gd name="connsiteX10" fmla="*/ 322717 w 978979"/>
                <a:gd name="connsiteY10" fmla="*/ 127730 h 249888"/>
                <a:gd name="connsiteX11" fmla="*/ 322545 w 978979"/>
                <a:gd name="connsiteY11" fmla="*/ 127901 h 249888"/>
                <a:gd name="connsiteX12" fmla="*/ 314430 w 978979"/>
                <a:gd name="connsiteY12" fmla="*/ 138055 h 249888"/>
                <a:gd name="connsiteX13" fmla="*/ 300095 w 978979"/>
                <a:gd name="connsiteY13" fmla="*/ 101679 h 249888"/>
                <a:gd name="connsiteX14" fmla="*/ 283788 w 978979"/>
                <a:gd name="connsiteY14" fmla="*/ 149685 h 249888"/>
                <a:gd name="connsiteX15" fmla="*/ 263090 w 978979"/>
                <a:gd name="connsiteY15" fmla="*/ 68818 h 249888"/>
                <a:gd name="connsiteX16" fmla="*/ 214360 w 978979"/>
                <a:gd name="connsiteY16" fmla="*/ 212912 h 249888"/>
                <a:gd name="connsiteX17" fmla="*/ 167497 w 978979"/>
                <a:gd name="connsiteY17" fmla="*/ 0 h 249888"/>
                <a:gd name="connsiteX18" fmla="*/ 122206 w 978979"/>
                <a:gd name="connsiteY18" fmla="*/ 145904 h 249888"/>
                <a:gd name="connsiteX19" fmla="*/ 116053 w 978979"/>
                <a:gd name="connsiteY19" fmla="*/ 129292 h 249888"/>
                <a:gd name="connsiteX20" fmla="*/ 116015 w 978979"/>
                <a:gd name="connsiteY20" fmla="*/ 129187 h 249888"/>
                <a:gd name="connsiteX21" fmla="*/ 115758 w 978979"/>
                <a:gd name="connsiteY21" fmla="*/ 128682 h 249888"/>
                <a:gd name="connsiteX22" fmla="*/ 115558 w 978979"/>
                <a:gd name="connsiteY22" fmla="*/ 128311 h 249888"/>
                <a:gd name="connsiteX23" fmla="*/ 115234 w 978979"/>
                <a:gd name="connsiteY23" fmla="*/ 127892 h 249888"/>
                <a:gd name="connsiteX24" fmla="*/ 114948 w 978979"/>
                <a:gd name="connsiteY24" fmla="*/ 127549 h 249888"/>
                <a:gd name="connsiteX25" fmla="*/ 114567 w 978979"/>
                <a:gd name="connsiteY25" fmla="*/ 127216 h 249888"/>
                <a:gd name="connsiteX26" fmla="*/ 114224 w 978979"/>
                <a:gd name="connsiteY26" fmla="*/ 126939 h 249888"/>
                <a:gd name="connsiteX27" fmla="*/ 113767 w 978979"/>
                <a:gd name="connsiteY27" fmla="*/ 126663 h 249888"/>
                <a:gd name="connsiteX28" fmla="*/ 113405 w 978979"/>
                <a:gd name="connsiteY28" fmla="*/ 126473 h 249888"/>
                <a:gd name="connsiteX29" fmla="*/ 112938 w 978979"/>
                <a:gd name="connsiteY29" fmla="*/ 126311 h 249888"/>
                <a:gd name="connsiteX30" fmla="*/ 112481 w 978979"/>
                <a:gd name="connsiteY30" fmla="*/ 126177 h 249888"/>
                <a:gd name="connsiteX31" fmla="*/ 112071 w 978979"/>
                <a:gd name="connsiteY31" fmla="*/ 126120 h 249888"/>
                <a:gd name="connsiteX32" fmla="*/ 111490 w 978979"/>
                <a:gd name="connsiteY32" fmla="*/ 126054 h 249888"/>
                <a:gd name="connsiteX33" fmla="*/ 111395 w 978979"/>
                <a:gd name="connsiteY33" fmla="*/ 126044 h 249888"/>
                <a:gd name="connsiteX34" fmla="*/ 4963 w 978979"/>
                <a:gd name="connsiteY34" fmla="*/ 126044 h 249888"/>
                <a:gd name="connsiteX35" fmla="*/ 0 w 978979"/>
                <a:gd name="connsiteY35" fmla="*/ 131007 h 249888"/>
                <a:gd name="connsiteX36" fmla="*/ 4963 w 978979"/>
                <a:gd name="connsiteY36" fmla="*/ 135969 h 249888"/>
                <a:gd name="connsiteX37" fmla="*/ 107947 w 978979"/>
                <a:gd name="connsiteY37" fmla="*/ 135969 h 249888"/>
                <a:gd name="connsiteX38" fmla="*/ 123044 w 978979"/>
                <a:gd name="connsiteY38" fmla="*/ 176727 h 249888"/>
                <a:gd name="connsiteX39" fmla="*/ 165859 w 978979"/>
                <a:gd name="connsiteY39" fmla="*/ 38757 h 249888"/>
                <a:gd name="connsiteX40" fmla="*/ 212341 w 978979"/>
                <a:gd name="connsiteY40" fmla="*/ 249888 h 249888"/>
                <a:gd name="connsiteX41" fmla="*/ 261776 w 978979"/>
                <a:gd name="connsiteY41" fmla="*/ 103698 h 249888"/>
                <a:gd name="connsiteX42" fmla="*/ 282445 w 978979"/>
                <a:gd name="connsiteY42" fmla="*/ 184489 h 249888"/>
                <a:gd name="connsiteX43" fmla="*/ 300790 w 978979"/>
                <a:gd name="connsiteY43" fmla="*/ 130511 h 249888"/>
                <a:gd name="connsiteX44" fmla="*/ 311468 w 978979"/>
                <a:gd name="connsiteY44" fmla="*/ 157629 h 249888"/>
                <a:gd name="connsiteX45" fmla="*/ 328813 w 978979"/>
                <a:gd name="connsiteY45" fmla="*/ 135969 h 249888"/>
                <a:gd name="connsiteX46" fmla="*/ 432007 w 978979"/>
                <a:gd name="connsiteY46" fmla="*/ 135969 h 249888"/>
                <a:gd name="connsiteX47" fmla="*/ 978979 w 978979"/>
                <a:gd name="connsiteY47" fmla="*/ 129205 h 249888"/>
                <a:gd name="connsiteX48" fmla="*/ 432007 w 978979"/>
                <a:gd name="connsiteY48" fmla="*/ 126044 h 249888"/>
                <a:gd name="connsiteX0" fmla="*/ 432007 w 432196"/>
                <a:gd name="connsiteY0" fmla="*/ 126044 h 249888"/>
                <a:gd name="connsiteX1" fmla="*/ 326422 w 432196"/>
                <a:gd name="connsiteY1" fmla="*/ 126044 h 249888"/>
                <a:gd name="connsiteX2" fmla="*/ 326146 w 432196"/>
                <a:gd name="connsiteY2" fmla="*/ 126063 h 249888"/>
                <a:gd name="connsiteX3" fmla="*/ 325660 w 432196"/>
                <a:gd name="connsiteY3" fmla="*/ 126130 h 249888"/>
                <a:gd name="connsiteX4" fmla="*/ 325174 w 432196"/>
                <a:gd name="connsiteY4" fmla="*/ 126215 h 249888"/>
                <a:gd name="connsiteX5" fmla="*/ 324727 w 432196"/>
                <a:gd name="connsiteY5" fmla="*/ 126349 h 249888"/>
                <a:gd name="connsiteX6" fmla="*/ 324269 w 432196"/>
                <a:gd name="connsiteY6" fmla="*/ 126549 h 249888"/>
                <a:gd name="connsiteX7" fmla="*/ 323869 w 432196"/>
                <a:gd name="connsiteY7" fmla="*/ 126777 h 249888"/>
                <a:gd name="connsiteX8" fmla="*/ 323460 w 432196"/>
                <a:gd name="connsiteY8" fmla="*/ 127054 h 249888"/>
                <a:gd name="connsiteX9" fmla="*/ 323107 w 432196"/>
                <a:gd name="connsiteY9" fmla="*/ 127349 h 249888"/>
                <a:gd name="connsiteX10" fmla="*/ 322717 w 432196"/>
                <a:gd name="connsiteY10" fmla="*/ 127730 h 249888"/>
                <a:gd name="connsiteX11" fmla="*/ 322545 w 432196"/>
                <a:gd name="connsiteY11" fmla="*/ 127901 h 249888"/>
                <a:gd name="connsiteX12" fmla="*/ 314430 w 432196"/>
                <a:gd name="connsiteY12" fmla="*/ 138055 h 249888"/>
                <a:gd name="connsiteX13" fmla="*/ 300095 w 432196"/>
                <a:gd name="connsiteY13" fmla="*/ 101679 h 249888"/>
                <a:gd name="connsiteX14" fmla="*/ 283788 w 432196"/>
                <a:gd name="connsiteY14" fmla="*/ 149685 h 249888"/>
                <a:gd name="connsiteX15" fmla="*/ 263090 w 432196"/>
                <a:gd name="connsiteY15" fmla="*/ 68818 h 249888"/>
                <a:gd name="connsiteX16" fmla="*/ 214360 w 432196"/>
                <a:gd name="connsiteY16" fmla="*/ 212912 h 249888"/>
                <a:gd name="connsiteX17" fmla="*/ 167497 w 432196"/>
                <a:gd name="connsiteY17" fmla="*/ 0 h 249888"/>
                <a:gd name="connsiteX18" fmla="*/ 122206 w 432196"/>
                <a:gd name="connsiteY18" fmla="*/ 145904 h 249888"/>
                <a:gd name="connsiteX19" fmla="*/ 116053 w 432196"/>
                <a:gd name="connsiteY19" fmla="*/ 129292 h 249888"/>
                <a:gd name="connsiteX20" fmla="*/ 116015 w 432196"/>
                <a:gd name="connsiteY20" fmla="*/ 129187 h 249888"/>
                <a:gd name="connsiteX21" fmla="*/ 115758 w 432196"/>
                <a:gd name="connsiteY21" fmla="*/ 128682 h 249888"/>
                <a:gd name="connsiteX22" fmla="*/ 115558 w 432196"/>
                <a:gd name="connsiteY22" fmla="*/ 128311 h 249888"/>
                <a:gd name="connsiteX23" fmla="*/ 115234 w 432196"/>
                <a:gd name="connsiteY23" fmla="*/ 127892 h 249888"/>
                <a:gd name="connsiteX24" fmla="*/ 114948 w 432196"/>
                <a:gd name="connsiteY24" fmla="*/ 127549 h 249888"/>
                <a:gd name="connsiteX25" fmla="*/ 114567 w 432196"/>
                <a:gd name="connsiteY25" fmla="*/ 127216 h 249888"/>
                <a:gd name="connsiteX26" fmla="*/ 114224 w 432196"/>
                <a:gd name="connsiteY26" fmla="*/ 126939 h 249888"/>
                <a:gd name="connsiteX27" fmla="*/ 113767 w 432196"/>
                <a:gd name="connsiteY27" fmla="*/ 126663 h 249888"/>
                <a:gd name="connsiteX28" fmla="*/ 113405 w 432196"/>
                <a:gd name="connsiteY28" fmla="*/ 126473 h 249888"/>
                <a:gd name="connsiteX29" fmla="*/ 112938 w 432196"/>
                <a:gd name="connsiteY29" fmla="*/ 126311 h 249888"/>
                <a:gd name="connsiteX30" fmla="*/ 112481 w 432196"/>
                <a:gd name="connsiteY30" fmla="*/ 126177 h 249888"/>
                <a:gd name="connsiteX31" fmla="*/ 112071 w 432196"/>
                <a:gd name="connsiteY31" fmla="*/ 126120 h 249888"/>
                <a:gd name="connsiteX32" fmla="*/ 111490 w 432196"/>
                <a:gd name="connsiteY32" fmla="*/ 126054 h 249888"/>
                <a:gd name="connsiteX33" fmla="*/ 111395 w 432196"/>
                <a:gd name="connsiteY33" fmla="*/ 126044 h 249888"/>
                <a:gd name="connsiteX34" fmla="*/ 4963 w 432196"/>
                <a:gd name="connsiteY34" fmla="*/ 126044 h 249888"/>
                <a:gd name="connsiteX35" fmla="*/ 0 w 432196"/>
                <a:gd name="connsiteY35" fmla="*/ 131007 h 249888"/>
                <a:gd name="connsiteX36" fmla="*/ 4963 w 432196"/>
                <a:gd name="connsiteY36" fmla="*/ 135969 h 249888"/>
                <a:gd name="connsiteX37" fmla="*/ 107947 w 432196"/>
                <a:gd name="connsiteY37" fmla="*/ 135969 h 249888"/>
                <a:gd name="connsiteX38" fmla="*/ 123044 w 432196"/>
                <a:gd name="connsiteY38" fmla="*/ 176727 h 249888"/>
                <a:gd name="connsiteX39" fmla="*/ 165859 w 432196"/>
                <a:gd name="connsiteY39" fmla="*/ 38757 h 249888"/>
                <a:gd name="connsiteX40" fmla="*/ 212341 w 432196"/>
                <a:gd name="connsiteY40" fmla="*/ 249888 h 249888"/>
                <a:gd name="connsiteX41" fmla="*/ 261776 w 432196"/>
                <a:gd name="connsiteY41" fmla="*/ 103698 h 249888"/>
                <a:gd name="connsiteX42" fmla="*/ 282445 w 432196"/>
                <a:gd name="connsiteY42" fmla="*/ 184489 h 249888"/>
                <a:gd name="connsiteX43" fmla="*/ 300790 w 432196"/>
                <a:gd name="connsiteY43" fmla="*/ 130511 h 249888"/>
                <a:gd name="connsiteX44" fmla="*/ 311468 w 432196"/>
                <a:gd name="connsiteY44" fmla="*/ 157629 h 249888"/>
                <a:gd name="connsiteX45" fmla="*/ 328813 w 432196"/>
                <a:gd name="connsiteY45" fmla="*/ 135969 h 249888"/>
                <a:gd name="connsiteX46" fmla="*/ 432007 w 432196"/>
                <a:gd name="connsiteY46" fmla="*/ 135969 h 249888"/>
                <a:gd name="connsiteX47" fmla="*/ 406855 w 432196"/>
                <a:gd name="connsiteY47" fmla="*/ 129205 h 249888"/>
                <a:gd name="connsiteX48" fmla="*/ 432007 w 432196"/>
                <a:gd name="connsiteY48" fmla="*/ 126044 h 249888"/>
                <a:gd name="connsiteX0" fmla="*/ 432007 w 432102"/>
                <a:gd name="connsiteY0" fmla="*/ 126044 h 249888"/>
                <a:gd name="connsiteX1" fmla="*/ 326422 w 432102"/>
                <a:gd name="connsiteY1" fmla="*/ 126044 h 249888"/>
                <a:gd name="connsiteX2" fmla="*/ 326146 w 432102"/>
                <a:gd name="connsiteY2" fmla="*/ 126063 h 249888"/>
                <a:gd name="connsiteX3" fmla="*/ 325660 w 432102"/>
                <a:gd name="connsiteY3" fmla="*/ 126130 h 249888"/>
                <a:gd name="connsiteX4" fmla="*/ 325174 w 432102"/>
                <a:gd name="connsiteY4" fmla="*/ 126215 h 249888"/>
                <a:gd name="connsiteX5" fmla="*/ 324727 w 432102"/>
                <a:gd name="connsiteY5" fmla="*/ 126349 h 249888"/>
                <a:gd name="connsiteX6" fmla="*/ 324269 w 432102"/>
                <a:gd name="connsiteY6" fmla="*/ 126549 h 249888"/>
                <a:gd name="connsiteX7" fmla="*/ 323869 w 432102"/>
                <a:gd name="connsiteY7" fmla="*/ 126777 h 249888"/>
                <a:gd name="connsiteX8" fmla="*/ 323460 w 432102"/>
                <a:gd name="connsiteY8" fmla="*/ 127054 h 249888"/>
                <a:gd name="connsiteX9" fmla="*/ 323107 w 432102"/>
                <a:gd name="connsiteY9" fmla="*/ 127349 h 249888"/>
                <a:gd name="connsiteX10" fmla="*/ 322717 w 432102"/>
                <a:gd name="connsiteY10" fmla="*/ 127730 h 249888"/>
                <a:gd name="connsiteX11" fmla="*/ 322545 w 432102"/>
                <a:gd name="connsiteY11" fmla="*/ 127901 h 249888"/>
                <a:gd name="connsiteX12" fmla="*/ 314430 w 432102"/>
                <a:gd name="connsiteY12" fmla="*/ 138055 h 249888"/>
                <a:gd name="connsiteX13" fmla="*/ 300095 w 432102"/>
                <a:gd name="connsiteY13" fmla="*/ 101679 h 249888"/>
                <a:gd name="connsiteX14" fmla="*/ 283788 w 432102"/>
                <a:gd name="connsiteY14" fmla="*/ 149685 h 249888"/>
                <a:gd name="connsiteX15" fmla="*/ 263090 w 432102"/>
                <a:gd name="connsiteY15" fmla="*/ 68818 h 249888"/>
                <a:gd name="connsiteX16" fmla="*/ 214360 w 432102"/>
                <a:gd name="connsiteY16" fmla="*/ 212912 h 249888"/>
                <a:gd name="connsiteX17" fmla="*/ 167497 w 432102"/>
                <a:gd name="connsiteY17" fmla="*/ 0 h 249888"/>
                <a:gd name="connsiteX18" fmla="*/ 122206 w 432102"/>
                <a:gd name="connsiteY18" fmla="*/ 145904 h 249888"/>
                <a:gd name="connsiteX19" fmla="*/ 116053 w 432102"/>
                <a:gd name="connsiteY19" fmla="*/ 129292 h 249888"/>
                <a:gd name="connsiteX20" fmla="*/ 116015 w 432102"/>
                <a:gd name="connsiteY20" fmla="*/ 129187 h 249888"/>
                <a:gd name="connsiteX21" fmla="*/ 115758 w 432102"/>
                <a:gd name="connsiteY21" fmla="*/ 128682 h 249888"/>
                <a:gd name="connsiteX22" fmla="*/ 115558 w 432102"/>
                <a:gd name="connsiteY22" fmla="*/ 128311 h 249888"/>
                <a:gd name="connsiteX23" fmla="*/ 115234 w 432102"/>
                <a:gd name="connsiteY23" fmla="*/ 127892 h 249888"/>
                <a:gd name="connsiteX24" fmla="*/ 114948 w 432102"/>
                <a:gd name="connsiteY24" fmla="*/ 127549 h 249888"/>
                <a:gd name="connsiteX25" fmla="*/ 114567 w 432102"/>
                <a:gd name="connsiteY25" fmla="*/ 127216 h 249888"/>
                <a:gd name="connsiteX26" fmla="*/ 114224 w 432102"/>
                <a:gd name="connsiteY26" fmla="*/ 126939 h 249888"/>
                <a:gd name="connsiteX27" fmla="*/ 113767 w 432102"/>
                <a:gd name="connsiteY27" fmla="*/ 126663 h 249888"/>
                <a:gd name="connsiteX28" fmla="*/ 113405 w 432102"/>
                <a:gd name="connsiteY28" fmla="*/ 126473 h 249888"/>
                <a:gd name="connsiteX29" fmla="*/ 112938 w 432102"/>
                <a:gd name="connsiteY29" fmla="*/ 126311 h 249888"/>
                <a:gd name="connsiteX30" fmla="*/ 112481 w 432102"/>
                <a:gd name="connsiteY30" fmla="*/ 126177 h 249888"/>
                <a:gd name="connsiteX31" fmla="*/ 112071 w 432102"/>
                <a:gd name="connsiteY31" fmla="*/ 126120 h 249888"/>
                <a:gd name="connsiteX32" fmla="*/ 111490 w 432102"/>
                <a:gd name="connsiteY32" fmla="*/ 126054 h 249888"/>
                <a:gd name="connsiteX33" fmla="*/ 111395 w 432102"/>
                <a:gd name="connsiteY33" fmla="*/ 126044 h 249888"/>
                <a:gd name="connsiteX34" fmla="*/ 4963 w 432102"/>
                <a:gd name="connsiteY34" fmla="*/ 126044 h 249888"/>
                <a:gd name="connsiteX35" fmla="*/ 0 w 432102"/>
                <a:gd name="connsiteY35" fmla="*/ 131007 h 249888"/>
                <a:gd name="connsiteX36" fmla="*/ 4963 w 432102"/>
                <a:gd name="connsiteY36" fmla="*/ 135969 h 249888"/>
                <a:gd name="connsiteX37" fmla="*/ 107947 w 432102"/>
                <a:gd name="connsiteY37" fmla="*/ 135969 h 249888"/>
                <a:gd name="connsiteX38" fmla="*/ 123044 w 432102"/>
                <a:gd name="connsiteY38" fmla="*/ 176727 h 249888"/>
                <a:gd name="connsiteX39" fmla="*/ 165859 w 432102"/>
                <a:gd name="connsiteY39" fmla="*/ 38757 h 249888"/>
                <a:gd name="connsiteX40" fmla="*/ 212341 w 432102"/>
                <a:gd name="connsiteY40" fmla="*/ 249888 h 249888"/>
                <a:gd name="connsiteX41" fmla="*/ 261776 w 432102"/>
                <a:gd name="connsiteY41" fmla="*/ 103698 h 249888"/>
                <a:gd name="connsiteX42" fmla="*/ 282445 w 432102"/>
                <a:gd name="connsiteY42" fmla="*/ 184489 h 249888"/>
                <a:gd name="connsiteX43" fmla="*/ 300790 w 432102"/>
                <a:gd name="connsiteY43" fmla="*/ 130511 h 249888"/>
                <a:gd name="connsiteX44" fmla="*/ 311468 w 432102"/>
                <a:gd name="connsiteY44" fmla="*/ 157629 h 249888"/>
                <a:gd name="connsiteX45" fmla="*/ 328813 w 432102"/>
                <a:gd name="connsiteY45" fmla="*/ 135969 h 249888"/>
                <a:gd name="connsiteX46" fmla="*/ 432007 w 432102"/>
                <a:gd name="connsiteY46" fmla="*/ 135969 h 249888"/>
                <a:gd name="connsiteX47" fmla="*/ 377635 w 432102"/>
                <a:gd name="connsiteY47" fmla="*/ 129205 h 249888"/>
                <a:gd name="connsiteX48" fmla="*/ 432007 w 432102"/>
                <a:gd name="connsiteY48" fmla="*/ 126044 h 249888"/>
                <a:gd name="connsiteX0" fmla="*/ 380062 w 432102"/>
                <a:gd name="connsiteY0" fmla="*/ 128948 h 249888"/>
                <a:gd name="connsiteX1" fmla="*/ 326422 w 432102"/>
                <a:gd name="connsiteY1" fmla="*/ 126044 h 249888"/>
                <a:gd name="connsiteX2" fmla="*/ 326146 w 432102"/>
                <a:gd name="connsiteY2" fmla="*/ 126063 h 249888"/>
                <a:gd name="connsiteX3" fmla="*/ 325660 w 432102"/>
                <a:gd name="connsiteY3" fmla="*/ 126130 h 249888"/>
                <a:gd name="connsiteX4" fmla="*/ 325174 w 432102"/>
                <a:gd name="connsiteY4" fmla="*/ 126215 h 249888"/>
                <a:gd name="connsiteX5" fmla="*/ 324727 w 432102"/>
                <a:gd name="connsiteY5" fmla="*/ 126349 h 249888"/>
                <a:gd name="connsiteX6" fmla="*/ 324269 w 432102"/>
                <a:gd name="connsiteY6" fmla="*/ 126549 h 249888"/>
                <a:gd name="connsiteX7" fmla="*/ 323869 w 432102"/>
                <a:gd name="connsiteY7" fmla="*/ 126777 h 249888"/>
                <a:gd name="connsiteX8" fmla="*/ 323460 w 432102"/>
                <a:gd name="connsiteY8" fmla="*/ 127054 h 249888"/>
                <a:gd name="connsiteX9" fmla="*/ 323107 w 432102"/>
                <a:gd name="connsiteY9" fmla="*/ 127349 h 249888"/>
                <a:gd name="connsiteX10" fmla="*/ 322717 w 432102"/>
                <a:gd name="connsiteY10" fmla="*/ 127730 h 249888"/>
                <a:gd name="connsiteX11" fmla="*/ 322545 w 432102"/>
                <a:gd name="connsiteY11" fmla="*/ 127901 h 249888"/>
                <a:gd name="connsiteX12" fmla="*/ 314430 w 432102"/>
                <a:gd name="connsiteY12" fmla="*/ 138055 h 249888"/>
                <a:gd name="connsiteX13" fmla="*/ 300095 w 432102"/>
                <a:gd name="connsiteY13" fmla="*/ 101679 h 249888"/>
                <a:gd name="connsiteX14" fmla="*/ 283788 w 432102"/>
                <a:gd name="connsiteY14" fmla="*/ 149685 h 249888"/>
                <a:gd name="connsiteX15" fmla="*/ 263090 w 432102"/>
                <a:gd name="connsiteY15" fmla="*/ 68818 h 249888"/>
                <a:gd name="connsiteX16" fmla="*/ 214360 w 432102"/>
                <a:gd name="connsiteY16" fmla="*/ 212912 h 249888"/>
                <a:gd name="connsiteX17" fmla="*/ 167497 w 432102"/>
                <a:gd name="connsiteY17" fmla="*/ 0 h 249888"/>
                <a:gd name="connsiteX18" fmla="*/ 122206 w 432102"/>
                <a:gd name="connsiteY18" fmla="*/ 145904 h 249888"/>
                <a:gd name="connsiteX19" fmla="*/ 116053 w 432102"/>
                <a:gd name="connsiteY19" fmla="*/ 129292 h 249888"/>
                <a:gd name="connsiteX20" fmla="*/ 116015 w 432102"/>
                <a:gd name="connsiteY20" fmla="*/ 129187 h 249888"/>
                <a:gd name="connsiteX21" fmla="*/ 115758 w 432102"/>
                <a:gd name="connsiteY21" fmla="*/ 128682 h 249888"/>
                <a:gd name="connsiteX22" fmla="*/ 115558 w 432102"/>
                <a:gd name="connsiteY22" fmla="*/ 128311 h 249888"/>
                <a:gd name="connsiteX23" fmla="*/ 115234 w 432102"/>
                <a:gd name="connsiteY23" fmla="*/ 127892 h 249888"/>
                <a:gd name="connsiteX24" fmla="*/ 114948 w 432102"/>
                <a:gd name="connsiteY24" fmla="*/ 127549 h 249888"/>
                <a:gd name="connsiteX25" fmla="*/ 114567 w 432102"/>
                <a:gd name="connsiteY25" fmla="*/ 127216 h 249888"/>
                <a:gd name="connsiteX26" fmla="*/ 114224 w 432102"/>
                <a:gd name="connsiteY26" fmla="*/ 126939 h 249888"/>
                <a:gd name="connsiteX27" fmla="*/ 113767 w 432102"/>
                <a:gd name="connsiteY27" fmla="*/ 126663 h 249888"/>
                <a:gd name="connsiteX28" fmla="*/ 113405 w 432102"/>
                <a:gd name="connsiteY28" fmla="*/ 126473 h 249888"/>
                <a:gd name="connsiteX29" fmla="*/ 112938 w 432102"/>
                <a:gd name="connsiteY29" fmla="*/ 126311 h 249888"/>
                <a:gd name="connsiteX30" fmla="*/ 112481 w 432102"/>
                <a:gd name="connsiteY30" fmla="*/ 126177 h 249888"/>
                <a:gd name="connsiteX31" fmla="*/ 112071 w 432102"/>
                <a:gd name="connsiteY31" fmla="*/ 126120 h 249888"/>
                <a:gd name="connsiteX32" fmla="*/ 111490 w 432102"/>
                <a:gd name="connsiteY32" fmla="*/ 126054 h 249888"/>
                <a:gd name="connsiteX33" fmla="*/ 111395 w 432102"/>
                <a:gd name="connsiteY33" fmla="*/ 126044 h 249888"/>
                <a:gd name="connsiteX34" fmla="*/ 4963 w 432102"/>
                <a:gd name="connsiteY34" fmla="*/ 126044 h 249888"/>
                <a:gd name="connsiteX35" fmla="*/ 0 w 432102"/>
                <a:gd name="connsiteY35" fmla="*/ 131007 h 249888"/>
                <a:gd name="connsiteX36" fmla="*/ 4963 w 432102"/>
                <a:gd name="connsiteY36" fmla="*/ 135969 h 249888"/>
                <a:gd name="connsiteX37" fmla="*/ 107947 w 432102"/>
                <a:gd name="connsiteY37" fmla="*/ 135969 h 249888"/>
                <a:gd name="connsiteX38" fmla="*/ 123044 w 432102"/>
                <a:gd name="connsiteY38" fmla="*/ 176727 h 249888"/>
                <a:gd name="connsiteX39" fmla="*/ 165859 w 432102"/>
                <a:gd name="connsiteY39" fmla="*/ 38757 h 249888"/>
                <a:gd name="connsiteX40" fmla="*/ 212341 w 432102"/>
                <a:gd name="connsiteY40" fmla="*/ 249888 h 249888"/>
                <a:gd name="connsiteX41" fmla="*/ 261776 w 432102"/>
                <a:gd name="connsiteY41" fmla="*/ 103698 h 249888"/>
                <a:gd name="connsiteX42" fmla="*/ 282445 w 432102"/>
                <a:gd name="connsiteY42" fmla="*/ 184489 h 249888"/>
                <a:gd name="connsiteX43" fmla="*/ 300790 w 432102"/>
                <a:gd name="connsiteY43" fmla="*/ 130511 h 249888"/>
                <a:gd name="connsiteX44" fmla="*/ 311468 w 432102"/>
                <a:gd name="connsiteY44" fmla="*/ 157629 h 249888"/>
                <a:gd name="connsiteX45" fmla="*/ 328813 w 432102"/>
                <a:gd name="connsiteY45" fmla="*/ 135969 h 249888"/>
                <a:gd name="connsiteX46" fmla="*/ 432007 w 432102"/>
                <a:gd name="connsiteY46" fmla="*/ 135969 h 249888"/>
                <a:gd name="connsiteX47" fmla="*/ 377635 w 432102"/>
                <a:gd name="connsiteY47" fmla="*/ 129205 h 249888"/>
                <a:gd name="connsiteX48" fmla="*/ 380062 w 432102"/>
                <a:gd name="connsiteY48" fmla="*/ 128948 h 249888"/>
                <a:gd name="connsiteX0" fmla="*/ 380062 w 393329"/>
                <a:gd name="connsiteY0" fmla="*/ 128948 h 249888"/>
                <a:gd name="connsiteX1" fmla="*/ 326422 w 393329"/>
                <a:gd name="connsiteY1" fmla="*/ 126044 h 249888"/>
                <a:gd name="connsiteX2" fmla="*/ 326146 w 393329"/>
                <a:gd name="connsiteY2" fmla="*/ 126063 h 249888"/>
                <a:gd name="connsiteX3" fmla="*/ 325660 w 393329"/>
                <a:gd name="connsiteY3" fmla="*/ 126130 h 249888"/>
                <a:gd name="connsiteX4" fmla="*/ 325174 w 393329"/>
                <a:gd name="connsiteY4" fmla="*/ 126215 h 249888"/>
                <a:gd name="connsiteX5" fmla="*/ 324727 w 393329"/>
                <a:gd name="connsiteY5" fmla="*/ 126349 h 249888"/>
                <a:gd name="connsiteX6" fmla="*/ 324269 w 393329"/>
                <a:gd name="connsiteY6" fmla="*/ 126549 h 249888"/>
                <a:gd name="connsiteX7" fmla="*/ 323869 w 393329"/>
                <a:gd name="connsiteY7" fmla="*/ 126777 h 249888"/>
                <a:gd name="connsiteX8" fmla="*/ 323460 w 393329"/>
                <a:gd name="connsiteY8" fmla="*/ 127054 h 249888"/>
                <a:gd name="connsiteX9" fmla="*/ 323107 w 393329"/>
                <a:gd name="connsiteY9" fmla="*/ 127349 h 249888"/>
                <a:gd name="connsiteX10" fmla="*/ 322717 w 393329"/>
                <a:gd name="connsiteY10" fmla="*/ 127730 h 249888"/>
                <a:gd name="connsiteX11" fmla="*/ 322545 w 393329"/>
                <a:gd name="connsiteY11" fmla="*/ 127901 h 249888"/>
                <a:gd name="connsiteX12" fmla="*/ 314430 w 393329"/>
                <a:gd name="connsiteY12" fmla="*/ 138055 h 249888"/>
                <a:gd name="connsiteX13" fmla="*/ 300095 w 393329"/>
                <a:gd name="connsiteY13" fmla="*/ 101679 h 249888"/>
                <a:gd name="connsiteX14" fmla="*/ 283788 w 393329"/>
                <a:gd name="connsiteY14" fmla="*/ 149685 h 249888"/>
                <a:gd name="connsiteX15" fmla="*/ 263090 w 393329"/>
                <a:gd name="connsiteY15" fmla="*/ 68818 h 249888"/>
                <a:gd name="connsiteX16" fmla="*/ 214360 w 393329"/>
                <a:gd name="connsiteY16" fmla="*/ 212912 h 249888"/>
                <a:gd name="connsiteX17" fmla="*/ 167497 w 393329"/>
                <a:gd name="connsiteY17" fmla="*/ 0 h 249888"/>
                <a:gd name="connsiteX18" fmla="*/ 122206 w 393329"/>
                <a:gd name="connsiteY18" fmla="*/ 145904 h 249888"/>
                <a:gd name="connsiteX19" fmla="*/ 116053 w 393329"/>
                <a:gd name="connsiteY19" fmla="*/ 129292 h 249888"/>
                <a:gd name="connsiteX20" fmla="*/ 116015 w 393329"/>
                <a:gd name="connsiteY20" fmla="*/ 129187 h 249888"/>
                <a:gd name="connsiteX21" fmla="*/ 115758 w 393329"/>
                <a:gd name="connsiteY21" fmla="*/ 128682 h 249888"/>
                <a:gd name="connsiteX22" fmla="*/ 115558 w 393329"/>
                <a:gd name="connsiteY22" fmla="*/ 128311 h 249888"/>
                <a:gd name="connsiteX23" fmla="*/ 115234 w 393329"/>
                <a:gd name="connsiteY23" fmla="*/ 127892 h 249888"/>
                <a:gd name="connsiteX24" fmla="*/ 114948 w 393329"/>
                <a:gd name="connsiteY24" fmla="*/ 127549 h 249888"/>
                <a:gd name="connsiteX25" fmla="*/ 114567 w 393329"/>
                <a:gd name="connsiteY25" fmla="*/ 127216 h 249888"/>
                <a:gd name="connsiteX26" fmla="*/ 114224 w 393329"/>
                <a:gd name="connsiteY26" fmla="*/ 126939 h 249888"/>
                <a:gd name="connsiteX27" fmla="*/ 113767 w 393329"/>
                <a:gd name="connsiteY27" fmla="*/ 126663 h 249888"/>
                <a:gd name="connsiteX28" fmla="*/ 113405 w 393329"/>
                <a:gd name="connsiteY28" fmla="*/ 126473 h 249888"/>
                <a:gd name="connsiteX29" fmla="*/ 112938 w 393329"/>
                <a:gd name="connsiteY29" fmla="*/ 126311 h 249888"/>
                <a:gd name="connsiteX30" fmla="*/ 112481 w 393329"/>
                <a:gd name="connsiteY30" fmla="*/ 126177 h 249888"/>
                <a:gd name="connsiteX31" fmla="*/ 112071 w 393329"/>
                <a:gd name="connsiteY31" fmla="*/ 126120 h 249888"/>
                <a:gd name="connsiteX32" fmla="*/ 111490 w 393329"/>
                <a:gd name="connsiteY32" fmla="*/ 126054 h 249888"/>
                <a:gd name="connsiteX33" fmla="*/ 111395 w 393329"/>
                <a:gd name="connsiteY33" fmla="*/ 126044 h 249888"/>
                <a:gd name="connsiteX34" fmla="*/ 4963 w 393329"/>
                <a:gd name="connsiteY34" fmla="*/ 126044 h 249888"/>
                <a:gd name="connsiteX35" fmla="*/ 0 w 393329"/>
                <a:gd name="connsiteY35" fmla="*/ 131007 h 249888"/>
                <a:gd name="connsiteX36" fmla="*/ 4963 w 393329"/>
                <a:gd name="connsiteY36" fmla="*/ 135969 h 249888"/>
                <a:gd name="connsiteX37" fmla="*/ 107947 w 393329"/>
                <a:gd name="connsiteY37" fmla="*/ 135969 h 249888"/>
                <a:gd name="connsiteX38" fmla="*/ 123044 w 393329"/>
                <a:gd name="connsiteY38" fmla="*/ 176727 h 249888"/>
                <a:gd name="connsiteX39" fmla="*/ 165859 w 393329"/>
                <a:gd name="connsiteY39" fmla="*/ 38757 h 249888"/>
                <a:gd name="connsiteX40" fmla="*/ 212341 w 393329"/>
                <a:gd name="connsiteY40" fmla="*/ 249888 h 249888"/>
                <a:gd name="connsiteX41" fmla="*/ 261776 w 393329"/>
                <a:gd name="connsiteY41" fmla="*/ 103698 h 249888"/>
                <a:gd name="connsiteX42" fmla="*/ 282445 w 393329"/>
                <a:gd name="connsiteY42" fmla="*/ 184489 h 249888"/>
                <a:gd name="connsiteX43" fmla="*/ 300790 w 393329"/>
                <a:gd name="connsiteY43" fmla="*/ 130511 h 249888"/>
                <a:gd name="connsiteX44" fmla="*/ 311468 w 393329"/>
                <a:gd name="connsiteY44" fmla="*/ 157629 h 249888"/>
                <a:gd name="connsiteX45" fmla="*/ 328813 w 393329"/>
                <a:gd name="connsiteY45" fmla="*/ 135969 h 249888"/>
                <a:gd name="connsiteX46" fmla="*/ 393047 w 393329"/>
                <a:gd name="connsiteY46" fmla="*/ 127258 h 249888"/>
                <a:gd name="connsiteX47" fmla="*/ 377635 w 393329"/>
                <a:gd name="connsiteY47" fmla="*/ 129205 h 249888"/>
                <a:gd name="connsiteX48" fmla="*/ 380062 w 393329"/>
                <a:gd name="connsiteY48" fmla="*/ 128948 h 249888"/>
                <a:gd name="connsiteX0" fmla="*/ 380062 w 380864"/>
                <a:gd name="connsiteY0" fmla="*/ 128948 h 249888"/>
                <a:gd name="connsiteX1" fmla="*/ 326422 w 380864"/>
                <a:gd name="connsiteY1" fmla="*/ 126044 h 249888"/>
                <a:gd name="connsiteX2" fmla="*/ 326146 w 380864"/>
                <a:gd name="connsiteY2" fmla="*/ 126063 h 249888"/>
                <a:gd name="connsiteX3" fmla="*/ 325660 w 380864"/>
                <a:gd name="connsiteY3" fmla="*/ 126130 h 249888"/>
                <a:gd name="connsiteX4" fmla="*/ 325174 w 380864"/>
                <a:gd name="connsiteY4" fmla="*/ 126215 h 249888"/>
                <a:gd name="connsiteX5" fmla="*/ 324727 w 380864"/>
                <a:gd name="connsiteY5" fmla="*/ 126349 h 249888"/>
                <a:gd name="connsiteX6" fmla="*/ 324269 w 380864"/>
                <a:gd name="connsiteY6" fmla="*/ 126549 h 249888"/>
                <a:gd name="connsiteX7" fmla="*/ 323869 w 380864"/>
                <a:gd name="connsiteY7" fmla="*/ 126777 h 249888"/>
                <a:gd name="connsiteX8" fmla="*/ 323460 w 380864"/>
                <a:gd name="connsiteY8" fmla="*/ 127054 h 249888"/>
                <a:gd name="connsiteX9" fmla="*/ 323107 w 380864"/>
                <a:gd name="connsiteY9" fmla="*/ 127349 h 249888"/>
                <a:gd name="connsiteX10" fmla="*/ 322717 w 380864"/>
                <a:gd name="connsiteY10" fmla="*/ 127730 h 249888"/>
                <a:gd name="connsiteX11" fmla="*/ 322545 w 380864"/>
                <a:gd name="connsiteY11" fmla="*/ 127901 h 249888"/>
                <a:gd name="connsiteX12" fmla="*/ 314430 w 380864"/>
                <a:gd name="connsiteY12" fmla="*/ 138055 h 249888"/>
                <a:gd name="connsiteX13" fmla="*/ 300095 w 380864"/>
                <a:gd name="connsiteY13" fmla="*/ 101679 h 249888"/>
                <a:gd name="connsiteX14" fmla="*/ 283788 w 380864"/>
                <a:gd name="connsiteY14" fmla="*/ 149685 h 249888"/>
                <a:gd name="connsiteX15" fmla="*/ 263090 w 380864"/>
                <a:gd name="connsiteY15" fmla="*/ 68818 h 249888"/>
                <a:gd name="connsiteX16" fmla="*/ 214360 w 380864"/>
                <a:gd name="connsiteY16" fmla="*/ 212912 h 249888"/>
                <a:gd name="connsiteX17" fmla="*/ 167497 w 380864"/>
                <a:gd name="connsiteY17" fmla="*/ 0 h 249888"/>
                <a:gd name="connsiteX18" fmla="*/ 122206 w 380864"/>
                <a:gd name="connsiteY18" fmla="*/ 145904 h 249888"/>
                <a:gd name="connsiteX19" fmla="*/ 116053 w 380864"/>
                <a:gd name="connsiteY19" fmla="*/ 129292 h 249888"/>
                <a:gd name="connsiteX20" fmla="*/ 116015 w 380864"/>
                <a:gd name="connsiteY20" fmla="*/ 129187 h 249888"/>
                <a:gd name="connsiteX21" fmla="*/ 115758 w 380864"/>
                <a:gd name="connsiteY21" fmla="*/ 128682 h 249888"/>
                <a:gd name="connsiteX22" fmla="*/ 115558 w 380864"/>
                <a:gd name="connsiteY22" fmla="*/ 128311 h 249888"/>
                <a:gd name="connsiteX23" fmla="*/ 115234 w 380864"/>
                <a:gd name="connsiteY23" fmla="*/ 127892 h 249888"/>
                <a:gd name="connsiteX24" fmla="*/ 114948 w 380864"/>
                <a:gd name="connsiteY24" fmla="*/ 127549 h 249888"/>
                <a:gd name="connsiteX25" fmla="*/ 114567 w 380864"/>
                <a:gd name="connsiteY25" fmla="*/ 127216 h 249888"/>
                <a:gd name="connsiteX26" fmla="*/ 114224 w 380864"/>
                <a:gd name="connsiteY26" fmla="*/ 126939 h 249888"/>
                <a:gd name="connsiteX27" fmla="*/ 113767 w 380864"/>
                <a:gd name="connsiteY27" fmla="*/ 126663 h 249888"/>
                <a:gd name="connsiteX28" fmla="*/ 113405 w 380864"/>
                <a:gd name="connsiteY28" fmla="*/ 126473 h 249888"/>
                <a:gd name="connsiteX29" fmla="*/ 112938 w 380864"/>
                <a:gd name="connsiteY29" fmla="*/ 126311 h 249888"/>
                <a:gd name="connsiteX30" fmla="*/ 112481 w 380864"/>
                <a:gd name="connsiteY30" fmla="*/ 126177 h 249888"/>
                <a:gd name="connsiteX31" fmla="*/ 112071 w 380864"/>
                <a:gd name="connsiteY31" fmla="*/ 126120 h 249888"/>
                <a:gd name="connsiteX32" fmla="*/ 111490 w 380864"/>
                <a:gd name="connsiteY32" fmla="*/ 126054 h 249888"/>
                <a:gd name="connsiteX33" fmla="*/ 111395 w 380864"/>
                <a:gd name="connsiteY33" fmla="*/ 126044 h 249888"/>
                <a:gd name="connsiteX34" fmla="*/ 4963 w 380864"/>
                <a:gd name="connsiteY34" fmla="*/ 126044 h 249888"/>
                <a:gd name="connsiteX35" fmla="*/ 0 w 380864"/>
                <a:gd name="connsiteY35" fmla="*/ 131007 h 249888"/>
                <a:gd name="connsiteX36" fmla="*/ 4963 w 380864"/>
                <a:gd name="connsiteY36" fmla="*/ 135969 h 249888"/>
                <a:gd name="connsiteX37" fmla="*/ 107947 w 380864"/>
                <a:gd name="connsiteY37" fmla="*/ 135969 h 249888"/>
                <a:gd name="connsiteX38" fmla="*/ 123044 w 380864"/>
                <a:gd name="connsiteY38" fmla="*/ 176727 h 249888"/>
                <a:gd name="connsiteX39" fmla="*/ 165859 w 380864"/>
                <a:gd name="connsiteY39" fmla="*/ 38757 h 249888"/>
                <a:gd name="connsiteX40" fmla="*/ 212341 w 380864"/>
                <a:gd name="connsiteY40" fmla="*/ 249888 h 249888"/>
                <a:gd name="connsiteX41" fmla="*/ 261776 w 380864"/>
                <a:gd name="connsiteY41" fmla="*/ 103698 h 249888"/>
                <a:gd name="connsiteX42" fmla="*/ 282445 w 380864"/>
                <a:gd name="connsiteY42" fmla="*/ 184489 h 249888"/>
                <a:gd name="connsiteX43" fmla="*/ 300790 w 380864"/>
                <a:gd name="connsiteY43" fmla="*/ 130511 h 249888"/>
                <a:gd name="connsiteX44" fmla="*/ 311468 w 380864"/>
                <a:gd name="connsiteY44" fmla="*/ 157629 h 249888"/>
                <a:gd name="connsiteX45" fmla="*/ 328813 w 380864"/>
                <a:gd name="connsiteY45" fmla="*/ 135969 h 249888"/>
                <a:gd name="connsiteX46" fmla="*/ 367075 w 380864"/>
                <a:gd name="connsiteY46" fmla="*/ 127258 h 249888"/>
                <a:gd name="connsiteX47" fmla="*/ 377635 w 380864"/>
                <a:gd name="connsiteY47" fmla="*/ 129205 h 249888"/>
                <a:gd name="connsiteX48" fmla="*/ 380062 w 380864"/>
                <a:gd name="connsiteY48" fmla="*/ 128948 h 24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80864" h="249888">
                  <a:moveTo>
                    <a:pt x="380062" y="128948"/>
                  </a:moveTo>
                  <a:lnTo>
                    <a:pt x="326422" y="126044"/>
                  </a:lnTo>
                  <a:lnTo>
                    <a:pt x="326146" y="126063"/>
                  </a:lnTo>
                  <a:lnTo>
                    <a:pt x="325660" y="126130"/>
                  </a:lnTo>
                  <a:lnTo>
                    <a:pt x="325174" y="126215"/>
                  </a:lnTo>
                  <a:lnTo>
                    <a:pt x="324727" y="126349"/>
                  </a:lnTo>
                  <a:lnTo>
                    <a:pt x="324269" y="126549"/>
                  </a:lnTo>
                  <a:lnTo>
                    <a:pt x="323869" y="126777"/>
                  </a:lnTo>
                  <a:lnTo>
                    <a:pt x="323460" y="127054"/>
                  </a:lnTo>
                  <a:lnTo>
                    <a:pt x="323107" y="127349"/>
                  </a:lnTo>
                  <a:lnTo>
                    <a:pt x="322717" y="127730"/>
                  </a:lnTo>
                  <a:lnTo>
                    <a:pt x="322545" y="127901"/>
                  </a:lnTo>
                  <a:lnTo>
                    <a:pt x="314430" y="138055"/>
                  </a:lnTo>
                  <a:lnTo>
                    <a:pt x="300095" y="101679"/>
                  </a:lnTo>
                  <a:lnTo>
                    <a:pt x="283788" y="149685"/>
                  </a:lnTo>
                  <a:lnTo>
                    <a:pt x="263090" y="68818"/>
                  </a:lnTo>
                  <a:lnTo>
                    <a:pt x="214360" y="212912"/>
                  </a:lnTo>
                  <a:lnTo>
                    <a:pt x="167497" y="0"/>
                  </a:lnTo>
                  <a:lnTo>
                    <a:pt x="122206" y="145904"/>
                  </a:lnTo>
                  <a:lnTo>
                    <a:pt x="116053" y="129292"/>
                  </a:lnTo>
                  <a:cubicBezTo>
                    <a:pt x="116040" y="129257"/>
                    <a:pt x="116028" y="129222"/>
                    <a:pt x="116015" y="129187"/>
                  </a:cubicBezTo>
                  <a:cubicBezTo>
                    <a:pt x="115929" y="129019"/>
                    <a:pt x="115844" y="128850"/>
                    <a:pt x="115758" y="128682"/>
                  </a:cubicBezTo>
                  <a:lnTo>
                    <a:pt x="115558" y="128311"/>
                  </a:lnTo>
                  <a:lnTo>
                    <a:pt x="115234" y="127892"/>
                  </a:lnTo>
                  <a:lnTo>
                    <a:pt x="114948" y="127549"/>
                  </a:lnTo>
                  <a:lnTo>
                    <a:pt x="114567" y="127216"/>
                  </a:lnTo>
                  <a:lnTo>
                    <a:pt x="114224" y="126939"/>
                  </a:lnTo>
                  <a:lnTo>
                    <a:pt x="113767" y="126663"/>
                  </a:lnTo>
                  <a:lnTo>
                    <a:pt x="113405" y="126473"/>
                  </a:lnTo>
                  <a:lnTo>
                    <a:pt x="112938" y="126311"/>
                  </a:lnTo>
                  <a:lnTo>
                    <a:pt x="112481" y="126177"/>
                  </a:lnTo>
                  <a:lnTo>
                    <a:pt x="112071" y="126120"/>
                  </a:lnTo>
                  <a:lnTo>
                    <a:pt x="111490" y="126054"/>
                  </a:lnTo>
                  <a:cubicBezTo>
                    <a:pt x="111458" y="126051"/>
                    <a:pt x="111427" y="126047"/>
                    <a:pt x="111395" y="126044"/>
                  </a:cubicBezTo>
                  <a:lnTo>
                    <a:pt x="4963" y="126044"/>
                  </a:lnTo>
                  <a:cubicBezTo>
                    <a:pt x="2229" y="126044"/>
                    <a:pt x="0" y="128254"/>
                    <a:pt x="0" y="131007"/>
                  </a:cubicBezTo>
                  <a:cubicBezTo>
                    <a:pt x="0" y="133740"/>
                    <a:pt x="2229" y="135969"/>
                    <a:pt x="4963" y="135969"/>
                  </a:cubicBezTo>
                  <a:lnTo>
                    <a:pt x="107947" y="135969"/>
                  </a:lnTo>
                  <a:lnTo>
                    <a:pt x="123044" y="176727"/>
                  </a:lnTo>
                  <a:lnTo>
                    <a:pt x="165859" y="38757"/>
                  </a:lnTo>
                  <a:lnTo>
                    <a:pt x="212341" y="249888"/>
                  </a:lnTo>
                  <a:lnTo>
                    <a:pt x="261776" y="103698"/>
                  </a:lnTo>
                  <a:lnTo>
                    <a:pt x="282445" y="184489"/>
                  </a:lnTo>
                  <a:lnTo>
                    <a:pt x="300790" y="130511"/>
                  </a:lnTo>
                  <a:lnTo>
                    <a:pt x="311468" y="157629"/>
                  </a:lnTo>
                  <a:lnTo>
                    <a:pt x="328813" y="135969"/>
                  </a:lnTo>
                  <a:lnTo>
                    <a:pt x="367075" y="127258"/>
                  </a:lnTo>
                  <a:cubicBezTo>
                    <a:pt x="369818" y="127258"/>
                    <a:pt x="377635" y="131938"/>
                    <a:pt x="377635" y="129205"/>
                  </a:cubicBezTo>
                  <a:cubicBezTo>
                    <a:pt x="377635" y="126452"/>
                    <a:pt x="382805" y="128948"/>
                    <a:pt x="380062" y="128948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9525" cap="flat">
              <a:solidFill>
                <a:schemeClr val="accent4">
                  <a:lumMod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5CAFC3-5536-55B8-3DE7-A5E3FBAC6B40}"/>
                </a:ext>
              </a:extLst>
            </p:cNvPr>
            <p:cNvSpPr/>
            <p:nvPr/>
          </p:nvSpPr>
          <p:spPr>
            <a:xfrm>
              <a:off x="8948799" y="1465635"/>
              <a:ext cx="294150" cy="322530"/>
            </a:xfrm>
            <a:custGeom>
              <a:avLst/>
              <a:gdLst>
                <a:gd name="connsiteX0" fmla="*/ 212333 w 254831"/>
                <a:gd name="connsiteY0" fmla="*/ 249787 h 249888"/>
                <a:gd name="connsiteX1" fmla="*/ 165851 w 254831"/>
                <a:gd name="connsiteY1" fmla="*/ 38656 h 249888"/>
                <a:gd name="connsiteX2" fmla="*/ 123036 w 254831"/>
                <a:gd name="connsiteY2" fmla="*/ 176626 h 249888"/>
                <a:gd name="connsiteX3" fmla="*/ 107939 w 254831"/>
                <a:gd name="connsiteY3" fmla="*/ 135868 h 249888"/>
                <a:gd name="connsiteX4" fmla="*/ 4955 w 254831"/>
                <a:gd name="connsiteY4" fmla="*/ 135868 h 249888"/>
                <a:gd name="connsiteX5" fmla="*/ -8 w 254831"/>
                <a:gd name="connsiteY5" fmla="*/ 130906 h 249888"/>
                <a:gd name="connsiteX6" fmla="*/ 4955 w 254831"/>
                <a:gd name="connsiteY6" fmla="*/ 125943 h 249888"/>
                <a:gd name="connsiteX7" fmla="*/ 111387 w 254831"/>
                <a:gd name="connsiteY7" fmla="*/ 125943 h 249888"/>
                <a:gd name="connsiteX8" fmla="*/ 111482 w 254831"/>
                <a:gd name="connsiteY8" fmla="*/ 125953 h 249888"/>
                <a:gd name="connsiteX9" fmla="*/ 112063 w 254831"/>
                <a:gd name="connsiteY9" fmla="*/ 126019 h 249888"/>
                <a:gd name="connsiteX10" fmla="*/ 112473 w 254831"/>
                <a:gd name="connsiteY10" fmla="*/ 126076 h 249888"/>
                <a:gd name="connsiteX11" fmla="*/ 112930 w 254831"/>
                <a:gd name="connsiteY11" fmla="*/ 126210 h 249888"/>
                <a:gd name="connsiteX12" fmla="*/ 113397 w 254831"/>
                <a:gd name="connsiteY12" fmla="*/ 126372 h 249888"/>
                <a:gd name="connsiteX13" fmla="*/ 113759 w 254831"/>
                <a:gd name="connsiteY13" fmla="*/ 126562 h 249888"/>
                <a:gd name="connsiteX14" fmla="*/ 114216 w 254831"/>
                <a:gd name="connsiteY14" fmla="*/ 126838 h 249888"/>
                <a:gd name="connsiteX15" fmla="*/ 114559 w 254831"/>
                <a:gd name="connsiteY15" fmla="*/ 127115 h 249888"/>
                <a:gd name="connsiteX16" fmla="*/ 114940 w 254831"/>
                <a:gd name="connsiteY16" fmla="*/ 127448 h 249888"/>
                <a:gd name="connsiteX17" fmla="*/ 115226 w 254831"/>
                <a:gd name="connsiteY17" fmla="*/ 127791 h 249888"/>
                <a:gd name="connsiteX18" fmla="*/ 115550 w 254831"/>
                <a:gd name="connsiteY18" fmla="*/ 128210 h 249888"/>
                <a:gd name="connsiteX19" fmla="*/ 115750 w 254831"/>
                <a:gd name="connsiteY19" fmla="*/ 128581 h 249888"/>
                <a:gd name="connsiteX20" fmla="*/ 116007 w 254831"/>
                <a:gd name="connsiteY20" fmla="*/ 129086 h 249888"/>
                <a:gd name="connsiteX21" fmla="*/ 116045 w 254831"/>
                <a:gd name="connsiteY21" fmla="*/ 129191 h 249888"/>
                <a:gd name="connsiteX22" fmla="*/ 122198 w 254831"/>
                <a:gd name="connsiteY22" fmla="*/ 145803 h 249888"/>
                <a:gd name="connsiteX23" fmla="*/ 167489 w 254831"/>
                <a:gd name="connsiteY23" fmla="*/ -101 h 249888"/>
                <a:gd name="connsiteX24" fmla="*/ 214352 w 254831"/>
                <a:gd name="connsiteY24" fmla="*/ 212811 h 249888"/>
                <a:gd name="connsiteX25" fmla="*/ 249290 w 254831"/>
                <a:gd name="connsiteY25" fmla="*/ 109493 h 249888"/>
                <a:gd name="connsiteX26" fmla="*/ 254824 w 254831"/>
                <a:gd name="connsiteY26" fmla="*/ 124124 h 249888"/>
                <a:gd name="connsiteX27" fmla="*/ 212333 w 254831"/>
                <a:gd name="connsiteY27" fmla="*/ 249787 h 24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54831" h="249888">
                  <a:moveTo>
                    <a:pt x="212333" y="249787"/>
                  </a:moveTo>
                  <a:lnTo>
                    <a:pt x="165851" y="38656"/>
                  </a:lnTo>
                  <a:lnTo>
                    <a:pt x="123036" y="176626"/>
                  </a:lnTo>
                  <a:lnTo>
                    <a:pt x="107939" y="135868"/>
                  </a:lnTo>
                  <a:lnTo>
                    <a:pt x="4955" y="135868"/>
                  </a:lnTo>
                  <a:cubicBezTo>
                    <a:pt x="2221" y="135868"/>
                    <a:pt x="-8" y="133639"/>
                    <a:pt x="-8" y="130906"/>
                  </a:cubicBezTo>
                  <a:cubicBezTo>
                    <a:pt x="-8" y="128153"/>
                    <a:pt x="2221" y="125943"/>
                    <a:pt x="4955" y="125943"/>
                  </a:cubicBezTo>
                  <a:lnTo>
                    <a:pt x="111387" y="125943"/>
                  </a:lnTo>
                  <a:lnTo>
                    <a:pt x="111482" y="125953"/>
                  </a:lnTo>
                  <a:lnTo>
                    <a:pt x="112063" y="126019"/>
                  </a:lnTo>
                  <a:lnTo>
                    <a:pt x="112473" y="126076"/>
                  </a:lnTo>
                  <a:lnTo>
                    <a:pt x="112930" y="126210"/>
                  </a:lnTo>
                  <a:lnTo>
                    <a:pt x="113397" y="126372"/>
                  </a:lnTo>
                  <a:lnTo>
                    <a:pt x="113759" y="126562"/>
                  </a:lnTo>
                  <a:lnTo>
                    <a:pt x="114216" y="126838"/>
                  </a:lnTo>
                  <a:lnTo>
                    <a:pt x="114559" y="127115"/>
                  </a:lnTo>
                  <a:lnTo>
                    <a:pt x="114940" y="127448"/>
                  </a:lnTo>
                  <a:lnTo>
                    <a:pt x="115226" y="127791"/>
                  </a:lnTo>
                  <a:lnTo>
                    <a:pt x="115550" y="128210"/>
                  </a:lnTo>
                  <a:lnTo>
                    <a:pt x="115750" y="128581"/>
                  </a:lnTo>
                  <a:lnTo>
                    <a:pt x="116007" y="129086"/>
                  </a:lnTo>
                  <a:lnTo>
                    <a:pt x="116045" y="129191"/>
                  </a:lnTo>
                  <a:lnTo>
                    <a:pt x="122198" y="145803"/>
                  </a:lnTo>
                  <a:lnTo>
                    <a:pt x="167489" y="-101"/>
                  </a:lnTo>
                  <a:lnTo>
                    <a:pt x="214352" y="212811"/>
                  </a:lnTo>
                  <a:lnTo>
                    <a:pt x="249290" y="109493"/>
                  </a:lnTo>
                  <a:lnTo>
                    <a:pt x="254824" y="124124"/>
                  </a:lnTo>
                  <a:lnTo>
                    <a:pt x="212333" y="249787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9525" cap="flat">
              <a:solidFill>
                <a:schemeClr val="accent4">
                  <a:lumMod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195999E-E85B-F425-A6D6-E7802EE8191F}"/>
                </a:ext>
              </a:extLst>
            </p:cNvPr>
            <p:cNvCxnSpPr>
              <a:cxnSpLocks/>
            </p:cNvCxnSpPr>
            <p:nvPr/>
          </p:nvCxnSpPr>
          <p:spPr>
            <a:xfrm>
              <a:off x="7659294" y="1635040"/>
              <a:ext cx="1286019" cy="0"/>
            </a:xfrm>
            <a:prstGeom prst="line">
              <a:avLst/>
            </a:prstGeom>
            <a:ln w="28575" cap="flat">
              <a:solidFill>
                <a:schemeClr val="accent4">
                  <a:lumMod val="50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AADD82FC-891A-0A00-CAF3-DD781C4E9791}"/>
                </a:ext>
              </a:extLst>
            </p:cNvPr>
            <p:cNvSpPr/>
            <p:nvPr/>
          </p:nvSpPr>
          <p:spPr>
            <a:xfrm>
              <a:off x="8794255" y="1565712"/>
              <a:ext cx="37213" cy="12935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38934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5526AD6-ED45-407B-156C-AC5A146EB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A3732D5-6A71-FF58-ABA9-967C586C6FC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0000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41A33D7D-8F24-5769-20E0-8CFE5E4384E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A03790-35F0-FF2E-B462-229521651A24}"/>
              </a:ext>
            </a:extLst>
          </p:cNvPr>
          <p:cNvSpPr txBox="1"/>
          <p:nvPr/>
        </p:nvSpPr>
        <p:spPr>
          <a:xfrm>
            <a:off x="554735" y="1912040"/>
            <a:ext cx="5062293" cy="27084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0" b="1" dirty="0">
                <a:solidFill>
                  <a:schemeClr val="accent3"/>
                </a:solidFill>
                <a:latin typeface="+mj-lt"/>
              </a:rPr>
              <a:t>57% </a:t>
            </a:r>
            <a:r>
              <a:rPr lang="en-GB" sz="3200" dirty="0">
                <a:solidFill>
                  <a:schemeClr val="bg2"/>
                </a:solidFill>
              </a:rPr>
              <a:t>of employees feel that they have good health across all four dimensions of health…</a:t>
            </a:r>
            <a:endParaRPr lang="en-US" sz="32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B0D866-AEC3-4007-1EBC-FFD41E1606C9}"/>
              </a:ext>
            </a:extLst>
          </p:cNvPr>
          <p:cNvSpPr txBox="1"/>
          <p:nvPr/>
        </p:nvSpPr>
        <p:spPr>
          <a:xfrm>
            <a:off x="6618913" y="1619653"/>
            <a:ext cx="5105001" cy="329320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GB" sz="3200" dirty="0"/>
              <a:t>… while </a:t>
            </a:r>
            <a:r>
              <a:rPr lang="en-GB" sz="8000" b="1" dirty="0">
                <a:latin typeface="+mj-lt"/>
              </a:rPr>
              <a:t>1 in 5</a:t>
            </a:r>
            <a:r>
              <a:rPr lang="en-GB" sz="8000" dirty="0"/>
              <a:t> </a:t>
            </a:r>
            <a:r>
              <a:rPr lang="en-GB" sz="3200" dirty="0"/>
              <a:t>employees indicate that they are feeling total burnout, driven by four core symptoms</a:t>
            </a:r>
            <a:endParaRPr lang="en-US" sz="3200" dirty="0"/>
          </a:p>
        </p:txBody>
      </p:sp>
      <p:sp>
        <p:nvSpPr>
          <p:cNvPr id="12" name="4. Footnote">
            <a:extLst>
              <a:ext uri="{FF2B5EF4-FFF2-40B4-BE49-F238E27FC236}">
                <a16:creationId xmlns:a16="http://schemas.microsoft.com/office/drawing/2014/main" id="{26FFD352-B10B-8732-FCB6-3BF735D8B1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45990" y="6098924"/>
            <a:ext cx="5635086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/>
            </a:pPr>
            <a:r>
              <a:rPr lang="en-GB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Note: Holistic health data represents the percentage of respondents that scored an average for 4 or higher across the 4 dimensions of health; Burnout symptoms data represents the percentage of respondents that scored an average for 3 or higher across the 4 dimensions of burnout symptoms. . </a:t>
            </a:r>
            <a:endParaRPr lang="en-CA" sz="80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3" name="5. Source">
            <a:extLst>
              <a:ext uri="{FF2B5EF4-FFF2-40B4-BE49-F238E27FC236}">
                <a16:creationId xmlns:a16="http://schemas.microsoft.com/office/drawing/2014/main" id="{084D5100-DDA6-D63F-1657-67FB5D1C1C7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45990" y="65524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MHI Employee Holistic Health Survey 202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75F6738-8B46-710C-D3A6-20F56112F438}"/>
              </a:ext>
            </a:extLst>
          </p:cNvPr>
          <p:cNvSpPr txBox="1"/>
          <p:nvPr/>
        </p:nvSpPr>
        <p:spPr>
          <a:xfrm>
            <a:off x="6618913" y="4912862"/>
            <a:ext cx="5105001" cy="58477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GB" sz="1600" i="1" dirty="0"/>
              <a:t>(Exhaustion, mental distance, cognitive impairment, emotional impairment)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38896291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186BD31B-1536-767F-C176-6B5A90B265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48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186BD31B-1536-767F-C176-6B5A90B26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960ECB55-C103-B21E-2E2E-667724DB40A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84394"/>
            <a:ext cx="11082528" cy="731520"/>
          </a:xfrm>
        </p:spPr>
        <p:txBody>
          <a:bodyPr vert="horz"/>
          <a:lstStyle/>
          <a:p>
            <a:r>
              <a:rPr lang="en-GB" sz="2400" dirty="0"/>
              <a:t>For employees to thrive, organizations should both address burnout symptoms and support good holistic health – just one is not enough </a:t>
            </a:r>
            <a:endParaRPr lang="en-US" sz="2400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74EF8C9-5B04-BF3F-33DB-3F09809499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0A9AFA-D349-DD8F-7FD4-137D821E2DC8}"/>
              </a:ext>
            </a:extLst>
          </p:cNvPr>
          <p:cNvSpPr txBox="1"/>
          <p:nvPr/>
        </p:nvSpPr>
        <p:spPr>
          <a:xfrm>
            <a:off x="496023" y="1308116"/>
            <a:ext cx="446276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lobal opportunity gap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% share of employees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361E79D-3E40-9461-1C82-57A2C3A3AFC3}"/>
              </a:ext>
            </a:extLst>
          </p:cNvPr>
          <p:cNvGrpSpPr/>
          <p:nvPr/>
        </p:nvGrpSpPr>
        <p:grpSpPr>
          <a:xfrm>
            <a:off x="2040919" y="1760977"/>
            <a:ext cx="4751767" cy="3710015"/>
            <a:chOff x="1791977" y="2251964"/>
            <a:chExt cx="3390675" cy="343767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BFACA64-2215-C27E-4B21-423E207F4550}"/>
                </a:ext>
              </a:extLst>
            </p:cNvPr>
            <p:cNvSpPr/>
            <p:nvPr/>
          </p:nvSpPr>
          <p:spPr>
            <a:xfrm>
              <a:off x="1791977" y="2251964"/>
              <a:ext cx="1691538" cy="1715843"/>
            </a:xfrm>
            <a:prstGeom prst="rect">
              <a:avLst/>
            </a:prstGeom>
            <a:solidFill>
              <a:srgbClr val="F0F0F0"/>
            </a:solidFill>
            <a:ln w="6350" cap="sq">
              <a:solidFill>
                <a:srgbClr val="75757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DE186C3-6914-557E-4757-DF4AB321DF40}"/>
                </a:ext>
              </a:extLst>
            </p:cNvPr>
            <p:cNvSpPr/>
            <p:nvPr/>
          </p:nvSpPr>
          <p:spPr>
            <a:xfrm>
              <a:off x="1791977" y="3973797"/>
              <a:ext cx="1691538" cy="1715843"/>
            </a:xfrm>
            <a:prstGeom prst="rect">
              <a:avLst/>
            </a:prstGeom>
            <a:solidFill>
              <a:srgbClr val="F0F0F0"/>
            </a:solidFill>
            <a:ln w="6350" cap="sq">
              <a:solidFill>
                <a:srgbClr val="75757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4963D12-FEDF-CD2F-2683-D70510ADA0E9}"/>
                </a:ext>
              </a:extLst>
            </p:cNvPr>
            <p:cNvSpPr/>
            <p:nvPr/>
          </p:nvSpPr>
          <p:spPr>
            <a:xfrm>
              <a:off x="3491114" y="2251964"/>
              <a:ext cx="1691538" cy="1715843"/>
            </a:xfrm>
            <a:prstGeom prst="rect">
              <a:avLst/>
            </a:prstGeom>
            <a:solidFill>
              <a:srgbClr val="F0F0F0"/>
            </a:solidFill>
            <a:ln w="6350" cap="sq">
              <a:solidFill>
                <a:srgbClr val="75757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D40943B-648F-6E64-F1F1-91B677E37217}"/>
                </a:ext>
              </a:extLst>
            </p:cNvPr>
            <p:cNvSpPr/>
            <p:nvPr/>
          </p:nvSpPr>
          <p:spPr>
            <a:xfrm>
              <a:off x="3491114" y="3973797"/>
              <a:ext cx="1691538" cy="1715843"/>
            </a:xfrm>
            <a:prstGeom prst="rect">
              <a:avLst/>
            </a:prstGeom>
            <a:solidFill>
              <a:srgbClr val="F0F0F0"/>
            </a:solidFill>
            <a:ln w="6350" cap="sq">
              <a:solidFill>
                <a:srgbClr val="75757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99F2287-FCEF-6EE0-8BD5-F2BE3CFFFA17}"/>
                </a:ext>
              </a:extLst>
            </p:cNvPr>
            <p:cNvSpPr/>
            <p:nvPr/>
          </p:nvSpPr>
          <p:spPr>
            <a:xfrm>
              <a:off x="2417167" y="2993015"/>
              <a:ext cx="1066800" cy="973808"/>
            </a:xfrm>
            <a:prstGeom prst="rect">
              <a:avLst/>
            </a:prstGeom>
            <a:solidFill>
              <a:schemeClr val="accent2"/>
            </a:solidFill>
            <a:ln w="6350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0CA4523-5797-FD74-D0B7-3E32D9EE1ED3}"/>
                </a:ext>
              </a:extLst>
            </p:cNvPr>
            <p:cNvSpPr/>
            <p:nvPr/>
          </p:nvSpPr>
          <p:spPr>
            <a:xfrm>
              <a:off x="2764888" y="3976178"/>
              <a:ext cx="719079" cy="664195"/>
            </a:xfrm>
            <a:prstGeom prst="rect">
              <a:avLst/>
            </a:prstGeom>
            <a:solidFill>
              <a:schemeClr val="accent2"/>
            </a:solidFill>
            <a:ln w="6350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56F406F-05D9-7E62-0B32-9CFBDDF71EE1}"/>
                </a:ext>
              </a:extLst>
            </p:cNvPr>
            <p:cNvSpPr/>
            <p:nvPr/>
          </p:nvSpPr>
          <p:spPr>
            <a:xfrm>
              <a:off x="3495877" y="3976178"/>
              <a:ext cx="594660" cy="558728"/>
            </a:xfrm>
            <a:prstGeom prst="rect">
              <a:avLst/>
            </a:prstGeom>
            <a:solidFill>
              <a:schemeClr val="accent2"/>
            </a:solidFill>
            <a:ln w="6350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6F201C4-6F4D-1E66-D26E-5BCDD7E92213}"/>
                </a:ext>
              </a:extLst>
            </p:cNvPr>
            <p:cNvSpPr/>
            <p:nvPr/>
          </p:nvSpPr>
          <p:spPr>
            <a:xfrm>
              <a:off x="3495877" y="2655253"/>
              <a:ext cx="1361874" cy="1311569"/>
            </a:xfrm>
            <a:prstGeom prst="rect">
              <a:avLst/>
            </a:prstGeom>
            <a:solidFill>
              <a:schemeClr val="tx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9AF8912-34E5-1F8A-FF09-03F21C424089}"/>
                </a:ext>
              </a:extLst>
            </p:cNvPr>
            <p:cNvSpPr txBox="1"/>
            <p:nvPr/>
          </p:nvSpPr>
          <p:spPr>
            <a:xfrm>
              <a:off x="3719043" y="4092831"/>
              <a:ext cx="91507" cy="256665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9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6757C3C-195A-B72D-38F5-C69B35DE0060}"/>
                </a:ext>
              </a:extLst>
            </p:cNvPr>
            <p:cNvSpPr txBox="1"/>
            <p:nvPr/>
          </p:nvSpPr>
          <p:spPr>
            <a:xfrm>
              <a:off x="3002359" y="4147820"/>
              <a:ext cx="183014" cy="256665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3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035FF76-3514-6FBC-492D-45B057D2F021}"/>
                </a:ext>
              </a:extLst>
            </p:cNvPr>
            <p:cNvSpPr txBox="1"/>
            <p:nvPr/>
          </p:nvSpPr>
          <p:spPr>
            <a:xfrm>
              <a:off x="3002359" y="3407108"/>
              <a:ext cx="183014" cy="256665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9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029CD6F-C98F-BD67-7ECD-C64F3A509285}"/>
                </a:ext>
              </a:extLst>
            </p:cNvPr>
            <p:cNvSpPr txBox="1"/>
            <p:nvPr/>
          </p:nvSpPr>
          <p:spPr>
            <a:xfrm>
              <a:off x="4582814" y="3624859"/>
              <a:ext cx="183014" cy="256665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49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15FF534-7378-4BD7-15B0-F444F316C59C}"/>
              </a:ext>
            </a:extLst>
          </p:cNvPr>
          <p:cNvCxnSpPr>
            <a:cxnSpLocks/>
          </p:cNvCxnSpPr>
          <p:nvPr/>
        </p:nvCxnSpPr>
        <p:spPr>
          <a:xfrm flipV="1">
            <a:off x="1729670" y="2365707"/>
            <a:ext cx="0" cy="2316480"/>
          </a:xfrm>
          <a:prstGeom prst="straightConnector1">
            <a:avLst/>
          </a:prstGeom>
          <a:ln w="6350" cap="flat">
            <a:solidFill>
              <a:srgbClr val="757575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9EF4417-A961-DEA9-681B-F5202C0906AB}"/>
              </a:ext>
            </a:extLst>
          </p:cNvPr>
          <p:cNvSpPr txBox="1"/>
          <p:nvPr/>
        </p:nvSpPr>
        <p:spPr>
          <a:xfrm>
            <a:off x="496023" y="3143970"/>
            <a:ext cx="119215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creasing burnout symptom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01D9C5B-2714-9FA3-FB95-E9EA6D5B80AD}"/>
              </a:ext>
            </a:extLst>
          </p:cNvPr>
          <p:cNvSpPr txBox="1"/>
          <p:nvPr/>
        </p:nvSpPr>
        <p:spPr>
          <a:xfrm>
            <a:off x="932926" y="4827655"/>
            <a:ext cx="10346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gh burnout symptom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C6B8589-1767-E52E-A6F8-460D82AE7182}"/>
              </a:ext>
            </a:extLst>
          </p:cNvPr>
          <p:cNvSpPr txBox="1"/>
          <p:nvPr/>
        </p:nvSpPr>
        <p:spPr>
          <a:xfrm>
            <a:off x="932926" y="1760978"/>
            <a:ext cx="103466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ow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urnout symptom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9D1C0D-97BA-22C4-8C9E-7701BC7A7368}"/>
              </a:ext>
            </a:extLst>
          </p:cNvPr>
          <p:cNvSpPr txBox="1"/>
          <p:nvPr/>
        </p:nvSpPr>
        <p:spPr>
          <a:xfrm>
            <a:off x="2166859" y="1814887"/>
            <a:ext cx="1077218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anag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5241AB1-48C4-7248-7D49-7049F1AD7CB4}"/>
              </a:ext>
            </a:extLst>
          </p:cNvPr>
          <p:cNvSpPr txBox="1"/>
          <p:nvPr/>
        </p:nvSpPr>
        <p:spPr>
          <a:xfrm>
            <a:off x="2166860" y="2100920"/>
            <a:ext cx="215780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ower functioning while maintain-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g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bility to deal with work demand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0F28380-4D03-ACE2-CB1C-EEEAFAF1E8F3}"/>
              </a:ext>
            </a:extLst>
          </p:cNvPr>
          <p:cNvSpPr txBox="1"/>
          <p:nvPr/>
        </p:nvSpPr>
        <p:spPr>
          <a:xfrm>
            <a:off x="4518940" y="2276938"/>
            <a:ext cx="1714287" cy="8463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gher functioning and coping well, effectively addressing work demands while growing and develop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3B5C11-CF24-A68F-8563-7AB57335BF79}"/>
              </a:ext>
            </a:extLst>
          </p:cNvPr>
          <p:cNvSpPr txBox="1"/>
          <p:nvPr/>
        </p:nvSpPr>
        <p:spPr>
          <a:xfrm>
            <a:off x="4518940" y="1814887"/>
            <a:ext cx="1205458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aring wel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F8F1EA-2AF0-3FE8-2A26-B89AFB9F2E1C}"/>
              </a:ext>
            </a:extLst>
          </p:cNvPr>
          <p:cNvSpPr txBox="1"/>
          <p:nvPr/>
        </p:nvSpPr>
        <p:spPr>
          <a:xfrm>
            <a:off x="5594855" y="4292049"/>
            <a:ext cx="1141338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retch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A5C3466-C8A8-FA02-7CB8-33CB27E0087E}"/>
              </a:ext>
            </a:extLst>
          </p:cNvPr>
          <p:cNvSpPr txBox="1"/>
          <p:nvPr/>
        </p:nvSpPr>
        <p:spPr>
          <a:xfrm>
            <a:off x="4560983" y="4595157"/>
            <a:ext cx="2170747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gher functioning but not coping well, overwhelmed by work demand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C90BEAA-0E4B-9F67-60C6-2A765944F165}"/>
              </a:ext>
            </a:extLst>
          </p:cNvPr>
          <p:cNvSpPr txBox="1"/>
          <p:nvPr/>
        </p:nvSpPr>
        <p:spPr>
          <a:xfrm>
            <a:off x="2156105" y="4292049"/>
            <a:ext cx="1064394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rowning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C4150BC-BA21-41CA-6688-03E7E64C2F6D}"/>
              </a:ext>
            </a:extLst>
          </p:cNvPr>
          <p:cNvSpPr txBox="1"/>
          <p:nvPr/>
        </p:nvSpPr>
        <p:spPr>
          <a:xfrm>
            <a:off x="2166859" y="4595157"/>
            <a:ext cx="2170747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ower functioning but not coping well, overwhelmed and paralyzed by work demand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195B37C-E4B0-B629-C18A-08C126C41C43}"/>
              </a:ext>
            </a:extLst>
          </p:cNvPr>
          <p:cNvSpPr txBox="1"/>
          <p:nvPr/>
        </p:nvSpPr>
        <p:spPr>
          <a:xfrm>
            <a:off x="2040919" y="5554877"/>
            <a:ext cx="116060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b-optimal functioning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719A8002-74C8-B47A-F043-0B0DE49B0978}"/>
              </a:ext>
            </a:extLst>
          </p:cNvPr>
          <p:cNvCxnSpPr>
            <a:cxnSpLocks/>
          </p:cNvCxnSpPr>
          <p:nvPr/>
        </p:nvCxnSpPr>
        <p:spPr>
          <a:xfrm>
            <a:off x="3282052" y="5677988"/>
            <a:ext cx="2162853" cy="0"/>
          </a:xfrm>
          <a:prstGeom prst="straightConnector1">
            <a:avLst/>
          </a:prstGeom>
          <a:ln w="6350" cap="flat">
            <a:solidFill>
              <a:srgbClr val="757575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B3C8181D-2802-6B4D-EA22-C57FEDD33785}"/>
              </a:ext>
            </a:extLst>
          </p:cNvPr>
          <p:cNvSpPr txBox="1"/>
          <p:nvPr/>
        </p:nvSpPr>
        <p:spPr>
          <a:xfrm>
            <a:off x="5632081" y="5554877"/>
            <a:ext cx="116060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ll-function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3F3E03F-2458-0DE6-53E6-710C31E3D96D}"/>
              </a:ext>
            </a:extLst>
          </p:cNvPr>
          <p:cNvSpPr txBox="1"/>
          <p:nvPr/>
        </p:nvSpPr>
        <p:spPr>
          <a:xfrm>
            <a:off x="3571421" y="5759961"/>
            <a:ext cx="158411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creasing holistic health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7" name="4. Footnote">
            <a:extLst>
              <a:ext uri="{FF2B5EF4-FFF2-40B4-BE49-F238E27FC236}">
                <a16:creationId xmlns:a16="http://schemas.microsoft.com/office/drawing/2014/main" id="{4A00FB72-1CAF-2DE9-A2C1-4069D615048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3972" y="6204106"/>
            <a:ext cx="11086340" cy="4924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1. </a:t>
            </a: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"High" burnout symptoms is defined as employees reporting burnout symptom scores greater than or equal to 3 and "low" burnout symptoms is defined as employees reporting burnout symptom scores less than 3. "Well-functioning" on holistic health is defined as employees reporting holistic health scores greater than or equal to 4 and "sub-optimal functioning" on holistic health is defined as employees reporting holistic health scores less than 4.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ource: MHI Employee Holistic Health Survey 2023</a:t>
            </a:r>
          </a:p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2B01C31-6AEF-E50B-3534-153CF2315D6B}"/>
              </a:ext>
            </a:extLst>
          </p:cNvPr>
          <p:cNvSpPr txBox="1"/>
          <p:nvPr/>
        </p:nvSpPr>
        <p:spPr>
          <a:xfrm>
            <a:off x="7368032" y="2903122"/>
            <a:ext cx="4269231" cy="1908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51%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 employees report either sub-optimal holistic health, higher burnout symptoms, or both – what we call the ‘opportunity gap’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8630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E8F1BF68-E548-C2CE-F4CF-F11750938A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E8F1BF68-E548-C2CE-F4CF-F11750938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 hidden="1">
            <a:extLst>
              <a:ext uri="{FF2B5EF4-FFF2-40B4-BE49-F238E27FC236}">
                <a16:creationId xmlns:a16="http://schemas.microsoft.com/office/drawing/2014/main" id="{8E7217B7-CB2A-7D0B-1273-D04ECCA0246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56102"/>
            <a:ext cx="11082528" cy="3577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>
                <a:latin typeface="+mj-lt"/>
              </a:rPr>
              <a:t>Why Employee Health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92BB6CD-3747-469D-BA1F-FAD1C1A277A1}"/>
              </a:ext>
            </a:extLst>
          </p:cNvPr>
          <p:cNvSpPr txBox="1">
            <a:spLocks/>
          </p:cNvSpPr>
          <p:nvPr/>
        </p:nvSpPr>
        <p:spPr>
          <a:xfrm>
            <a:off x="3512050" y="2673114"/>
            <a:ext cx="1060272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tal direc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5546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s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of poor employee well-being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1F6C30F-DA51-4F25-8310-ED1EC89E0336}"/>
              </a:ext>
            </a:extLst>
          </p:cNvPr>
          <p:cNvSpPr txBox="1">
            <a:spLocks/>
          </p:cNvSpPr>
          <p:nvPr/>
        </p:nvSpPr>
        <p:spPr>
          <a:xfrm>
            <a:off x="3512050" y="4692109"/>
            <a:ext cx="1060272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tal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C2C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enefi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created through good well-being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D8ECFAE0-57B9-40AF-81E4-E4716598311A}"/>
              </a:ext>
            </a:extLst>
          </p:cNvPr>
          <p:cNvSpPr>
            <a:spLocks/>
          </p:cNvSpPr>
          <p:nvPr/>
        </p:nvSpPr>
        <p:spPr>
          <a:xfrm rot="16200000" flipH="1" flipV="1">
            <a:off x="1333628" y="3990929"/>
            <a:ext cx="3817856" cy="190464"/>
          </a:xfrm>
          <a:custGeom>
            <a:avLst/>
            <a:gdLst>
              <a:gd name="connsiteX0" fmla="*/ 59 w 4383705"/>
              <a:gd name="connsiteY0" fmla="*/ 92061 h 191204"/>
              <a:gd name="connsiteX1" fmla="*/ 98725 w 4383705"/>
              <a:gd name="connsiteY1" fmla="*/ 59 h 191204"/>
              <a:gd name="connsiteX2" fmla="*/ 1420412 w 4383705"/>
              <a:gd name="connsiteY2" fmla="*/ 59 h 191204"/>
              <a:gd name="connsiteX3" fmla="*/ 1428266 w 4383705"/>
              <a:gd name="connsiteY3" fmla="*/ 59 h 191204"/>
              <a:gd name="connsiteX4" fmla="*/ 2749953 w 4383705"/>
              <a:gd name="connsiteY4" fmla="*/ 59 h 191204"/>
              <a:gd name="connsiteX5" fmla="*/ 2749943 w 4383705"/>
              <a:gd name="connsiteY5" fmla="*/ 478 h 191204"/>
              <a:gd name="connsiteX6" fmla="*/ 3648374 w 4383705"/>
              <a:gd name="connsiteY6" fmla="*/ 478 h 191204"/>
              <a:gd name="connsiteX7" fmla="*/ 3655039 w 4383705"/>
              <a:gd name="connsiteY7" fmla="*/ 478 h 191204"/>
              <a:gd name="connsiteX8" fmla="*/ 3655043 w 4383705"/>
              <a:gd name="connsiteY8" fmla="*/ 479 h 191204"/>
              <a:gd name="connsiteX9" fmla="*/ 4284981 w 4383705"/>
              <a:gd name="connsiteY9" fmla="*/ 479 h 191204"/>
              <a:gd name="connsiteX10" fmla="*/ 4291646 w 4383705"/>
              <a:gd name="connsiteY10" fmla="*/ 479 h 191204"/>
              <a:gd name="connsiteX11" fmla="*/ 4383646 w 4383705"/>
              <a:gd name="connsiteY11" fmla="*/ 99143 h 191204"/>
              <a:gd name="connsiteX12" fmla="*/ 4284981 w 4383705"/>
              <a:gd name="connsiteY12" fmla="*/ 191145 h 191204"/>
              <a:gd name="connsiteX13" fmla="*/ 2963294 w 4383705"/>
              <a:gd name="connsiteY13" fmla="*/ 191145 h 191204"/>
              <a:gd name="connsiteX14" fmla="*/ 2955440 w 4383705"/>
              <a:gd name="connsiteY14" fmla="*/ 191145 h 191204"/>
              <a:gd name="connsiteX15" fmla="*/ 1633753 w 4383705"/>
              <a:gd name="connsiteY15" fmla="*/ 191145 h 191204"/>
              <a:gd name="connsiteX16" fmla="*/ 1633753 w 4383705"/>
              <a:gd name="connsiteY16" fmla="*/ 191144 h 191204"/>
              <a:gd name="connsiteX17" fmla="*/ 997146 w 4383705"/>
              <a:gd name="connsiteY17" fmla="*/ 191144 h 191204"/>
              <a:gd name="connsiteX18" fmla="*/ 997155 w 4383705"/>
              <a:gd name="connsiteY18" fmla="*/ 190725 h 191204"/>
              <a:gd name="connsiteX19" fmla="*/ 98725 w 4383705"/>
              <a:gd name="connsiteY19" fmla="*/ 190725 h 191204"/>
              <a:gd name="connsiteX20" fmla="*/ 92059 w 4383705"/>
              <a:gd name="connsiteY20" fmla="*/ 190725 h 191204"/>
              <a:gd name="connsiteX21" fmla="*/ 59 w 4383705"/>
              <a:gd name="connsiteY21" fmla="*/ 92061 h 191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383705" h="191204">
                <a:moveTo>
                  <a:pt x="59" y="92061"/>
                </a:moveTo>
                <a:cubicBezTo>
                  <a:pt x="1900" y="39403"/>
                  <a:pt x="46074" y="-1782"/>
                  <a:pt x="98725" y="59"/>
                </a:cubicBezTo>
                <a:lnTo>
                  <a:pt x="1420412" y="59"/>
                </a:lnTo>
                <a:lnTo>
                  <a:pt x="1428266" y="59"/>
                </a:lnTo>
                <a:lnTo>
                  <a:pt x="2749953" y="59"/>
                </a:lnTo>
                <a:lnTo>
                  <a:pt x="2749943" y="478"/>
                </a:lnTo>
                <a:lnTo>
                  <a:pt x="3648374" y="478"/>
                </a:lnTo>
                <a:cubicBezTo>
                  <a:pt x="3650594" y="397"/>
                  <a:pt x="3652817" y="397"/>
                  <a:pt x="3655039" y="478"/>
                </a:cubicBezTo>
                <a:lnTo>
                  <a:pt x="3655043" y="479"/>
                </a:lnTo>
                <a:lnTo>
                  <a:pt x="4284981" y="479"/>
                </a:lnTo>
                <a:cubicBezTo>
                  <a:pt x="4287201" y="398"/>
                  <a:pt x="4289424" y="398"/>
                  <a:pt x="4291646" y="479"/>
                </a:cubicBezTo>
                <a:cubicBezTo>
                  <a:pt x="4344296" y="2319"/>
                  <a:pt x="4385488" y="46497"/>
                  <a:pt x="4383646" y="99143"/>
                </a:cubicBezTo>
                <a:cubicBezTo>
                  <a:pt x="4381806" y="151801"/>
                  <a:pt x="4337631" y="192986"/>
                  <a:pt x="4284981" y="191145"/>
                </a:cubicBezTo>
                <a:lnTo>
                  <a:pt x="2963294" y="191145"/>
                </a:lnTo>
                <a:lnTo>
                  <a:pt x="2955440" y="191145"/>
                </a:lnTo>
                <a:lnTo>
                  <a:pt x="1633753" y="191145"/>
                </a:lnTo>
                <a:lnTo>
                  <a:pt x="1633753" y="191144"/>
                </a:lnTo>
                <a:lnTo>
                  <a:pt x="997146" y="191144"/>
                </a:lnTo>
                <a:lnTo>
                  <a:pt x="997155" y="190725"/>
                </a:lnTo>
                <a:lnTo>
                  <a:pt x="98725" y="190725"/>
                </a:lnTo>
                <a:cubicBezTo>
                  <a:pt x="96504" y="190806"/>
                  <a:pt x="94281" y="190806"/>
                  <a:pt x="92059" y="190725"/>
                </a:cubicBezTo>
                <a:cubicBezTo>
                  <a:pt x="39410" y="188885"/>
                  <a:pt x="-1782" y="144707"/>
                  <a:pt x="59" y="92061"/>
                </a:cubicBezTo>
                <a:close/>
              </a:path>
            </a:pathLst>
          </a:custGeom>
          <a:gradFill flip="none" rotWithShape="1">
            <a:gsLst>
              <a:gs pos="53000">
                <a:srgbClr val="CAEFFF"/>
              </a:gs>
              <a:gs pos="49000">
                <a:srgbClr val="F2ACB8"/>
              </a:gs>
              <a:gs pos="100000">
                <a:srgbClr val="CAEFFF"/>
              </a:gs>
              <a:gs pos="0">
                <a:srgbClr val="F2ACB8"/>
              </a:gs>
            </a:gsLst>
            <a:lin ang="0" scaled="1"/>
            <a:tileRect/>
          </a:gra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4" name="MinusSignWhite 8">
            <a:extLst>
              <a:ext uri="{FF2B5EF4-FFF2-40B4-BE49-F238E27FC236}">
                <a16:creationId xmlns:a16="http://schemas.microsoft.com/office/drawing/2014/main" id="{7443B3AA-9F7D-4F55-B1D4-6CCA9DC4B01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3510332" y="2242362"/>
            <a:ext cx="387389" cy="387389"/>
            <a:chOff x="1016000" y="1016000"/>
            <a:chExt cx="396228" cy="396228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90AEA5B4-E8E9-4530-8016-F5AA70DABA67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rgbClr val="FFFFFF"/>
            </a:solidFill>
            <a:ln w="6350" cap="sq" cmpd="sng" algn="ctr">
              <a:solidFill>
                <a:srgbClr val="051C2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276B4C05-5FA9-4AED-89DC-29B351BF2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67" name="PlusSignWhite 18">
            <a:extLst>
              <a:ext uri="{FF2B5EF4-FFF2-40B4-BE49-F238E27FC236}">
                <a16:creationId xmlns:a16="http://schemas.microsoft.com/office/drawing/2014/main" id="{6AD64FFA-9975-4FAD-8F20-6F6E719BAA28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3517776" y="4181350"/>
            <a:ext cx="387389" cy="387389"/>
            <a:chOff x="1016000" y="1016000"/>
            <a:chExt cx="396228" cy="396228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4F4A4719-8D92-442C-9B70-58DBF5F14440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rgbClr val="FFFFFF"/>
            </a:solidFill>
            <a:ln w="6350" cap="sq" cmpd="sng" algn="ctr">
              <a:solidFill>
                <a:srgbClr val="051C2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C642671E-CBA0-4F74-9851-D0ADBDF0B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CE2C6FFC-DBCE-488F-9BB9-95092A58A42D}"/>
              </a:ext>
            </a:extLst>
          </p:cNvPr>
          <p:cNvSpPr txBox="1">
            <a:spLocks/>
          </p:cNvSpPr>
          <p:nvPr/>
        </p:nvSpPr>
        <p:spPr>
          <a:xfrm>
            <a:off x="743686" y="3168275"/>
            <a:ext cx="2086102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~$3.7-11.7 trill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tal opportunity available by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vesting in employee health and well-being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A0E41EC6-513D-47E2-AA21-0DB51162AB59}"/>
              </a:ext>
            </a:extLst>
          </p:cNvPr>
          <p:cNvSpPr/>
          <p:nvPr/>
        </p:nvSpPr>
        <p:spPr>
          <a:xfrm rot="16200000">
            <a:off x="2868370" y="4031962"/>
            <a:ext cx="161792" cy="105135"/>
          </a:xfrm>
          <a:prstGeom prst="triangle">
            <a:avLst/>
          </a:prstGeom>
          <a:solidFill>
            <a:srgbClr val="051C2C"/>
          </a:solidFill>
          <a:ln w="6350" cap="sq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D80D5F40-FB32-4AA6-8513-B1B60E821F37}"/>
              </a:ext>
            </a:extLst>
          </p:cNvPr>
          <p:cNvCxnSpPr>
            <a:cxnSpLocks/>
          </p:cNvCxnSpPr>
          <p:nvPr/>
        </p:nvCxnSpPr>
        <p:spPr>
          <a:xfrm>
            <a:off x="3510332" y="4130912"/>
            <a:ext cx="1205366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0E261FA2-8B3C-495C-9A80-20BDDCA72B39}"/>
              </a:ext>
            </a:extLst>
          </p:cNvPr>
          <p:cNvCxnSpPr>
            <a:cxnSpLocks/>
          </p:cNvCxnSpPr>
          <p:nvPr/>
        </p:nvCxnSpPr>
        <p:spPr>
          <a:xfrm>
            <a:off x="4715698" y="3720169"/>
            <a:ext cx="0" cy="834143"/>
          </a:xfrm>
          <a:prstGeom prst="line">
            <a:avLst/>
          </a:prstGeom>
          <a:ln w="190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28C2CE27-A519-4DDB-A11A-6828BAEF4968}"/>
              </a:ext>
            </a:extLst>
          </p:cNvPr>
          <p:cNvSpPr txBox="1"/>
          <p:nvPr/>
        </p:nvSpPr>
        <p:spPr>
          <a:xfrm>
            <a:off x="4845155" y="1780697"/>
            <a:ext cx="219580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portunity,            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billions US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19EC638-E3AD-B2B8-2329-F3BB36E276AD}"/>
              </a:ext>
            </a:extLst>
          </p:cNvPr>
          <p:cNvGrpSpPr/>
          <p:nvPr/>
        </p:nvGrpSpPr>
        <p:grpSpPr>
          <a:xfrm>
            <a:off x="4845157" y="2395493"/>
            <a:ext cx="3089894" cy="3385039"/>
            <a:chOff x="4870323" y="2395493"/>
            <a:chExt cx="3243801" cy="338503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A80A949-78BD-4256-BB9B-E88F16708A83}"/>
                </a:ext>
              </a:extLst>
            </p:cNvPr>
            <p:cNvSpPr txBox="1"/>
            <p:nvPr/>
          </p:nvSpPr>
          <p:spPr>
            <a:xfrm>
              <a:off x="4870323" y="2395493"/>
              <a:ext cx="171535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ttrition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CDE88F32-688E-42C9-9E35-F9A6B5A3CD59}"/>
                </a:ext>
              </a:extLst>
            </p:cNvPr>
            <p:cNvSpPr txBox="1"/>
            <p:nvPr/>
          </p:nvSpPr>
          <p:spPr>
            <a:xfrm>
              <a:off x="6716310" y="2395493"/>
              <a:ext cx="1397813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~$288-886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459C648-4FBD-41C7-9414-10E4537ACE8D}"/>
                </a:ext>
              </a:extLst>
            </p:cNvPr>
            <p:cNvSpPr txBox="1"/>
            <p:nvPr/>
          </p:nvSpPr>
          <p:spPr>
            <a:xfrm>
              <a:off x="4870323" y="3118642"/>
              <a:ext cx="171535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bsenteeism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635D305-F4A6-4FFE-A961-3B3F97BC8A85}"/>
                </a:ext>
              </a:extLst>
            </p:cNvPr>
            <p:cNvSpPr txBox="1"/>
            <p:nvPr/>
          </p:nvSpPr>
          <p:spPr>
            <a:xfrm>
              <a:off x="7063668" y="3118642"/>
              <a:ext cx="1050453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~$569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BA09D62-E42B-41C4-A58C-8D60C7264FBA}"/>
                </a:ext>
              </a:extLst>
            </p:cNvPr>
            <p:cNvSpPr txBox="1"/>
            <p:nvPr/>
          </p:nvSpPr>
          <p:spPr>
            <a:xfrm>
              <a:off x="4870323" y="3841791"/>
              <a:ext cx="1715357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senteeism &amp; Productivity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DCB5B05F-E34A-4435-9C7E-49B174F37950}"/>
                </a:ext>
              </a:extLst>
            </p:cNvPr>
            <p:cNvSpPr txBox="1"/>
            <p:nvPr/>
          </p:nvSpPr>
          <p:spPr>
            <a:xfrm>
              <a:off x="6603030" y="3841791"/>
              <a:ext cx="1511093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~$2,116-9,331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94AD81F-1208-434D-80DA-7ED7FCA65877}"/>
                </a:ext>
              </a:extLst>
            </p:cNvPr>
            <p:cNvSpPr txBox="1"/>
            <p:nvPr/>
          </p:nvSpPr>
          <p:spPr>
            <a:xfrm>
              <a:off x="4870323" y="4811162"/>
              <a:ext cx="171535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tention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002D0F1-A343-4197-9291-47AF2D2499D8}"/>
                </a:ext>
              </a:extLst>
            </p:cNvPr>
            <p:cNvSpPr txBox="1"/>
            <p:nvPr/>
          </p:nvSpPr>
          <p:spPr>
            <a:xfrm>
              <a:off x="6603028" y="4811162"/>
              <a:ext cx="1511095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~$366-596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BF6B6B8-1F78-48EC-AD10-5EA431097D21}"/>
                </a:ext>
              </a:extLst>
            </p:cNvPr>
            <p:cNvSpPr txBox="1"/>
            <p:nvPr/>
          </p:nvSpPr>
          <p:spPr>
            <a:xfrm>
              <a:off x="4870323" y="5534311"/>
              <a:ext cx="171535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ttraction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A7BCE09-D98C-4097-AD92-9088341D9EF1}"/>
                </a:ext>
              </a:extLst>
            </p:cNvPr>
            <p:cNvSpPr txBox="1"/>
            <p:nvPr/>
          </p:nvSpPr>
          <p:spPr>
            <a:xfrm>
              <a:off x="7063668" y="5534311"/>
              <a:ext cx="1050453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~$316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97F8C8F-8908-4E6E-84E1-0E65178C7F1D}"/>
                </a:ext>
              </a:extLst>
            </p:cNvPr>
            <p:cNvCxnSpPr>
              <a:cxnSpLocks/>
            </p:cNvCxnSpPr>
            <p:nvPr/>
          </p:nvCxnSpPr>
          <p:spPr>
            <a:xfrm>
              <a:off x="4870323" y="2880178"/>
              <a:ext cx="3243800" cy="0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5FA3D923-C402-4C21-AA87-9CC56B1DA03D}"/>
                </a:ext>
              </a:extLst>
            </p:cNvPr>
            <p:cNvCxnSpPr>
              <a:cxnSpLocks/>
            </p:cNvCxnSpPr>
            <p:nvPr/>
          </p:nvCxnSpPr>
          <p:spPr>
            <a:xfrm>
              <a:off x="4870323" y="3603327"/>
              <a:ext cx="3243800" cy="0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693CA9EA-AD35-40D8-8264-AB734B5330BD}"/>
                </a:ext>
              </a:extLst>
            </p:cNvPr>
            <p:cNvCxnSpPr>
              <a:cxnSpLocks/>
            </p:cNvCxnSpPr>
            <p:nvPr/>
          </p:nvCxnSpPr>
          <p:spPr>
            <a:xfrm>
              <a:off x="4870324" y="4572698"/>
              <a:ext cx="3243800" cy="0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D1436E6-1C0A-4A9E-9F0D-3A76D4E762FC}"/>
                </a:ext>
              </a:extLst>
            </p:cNvPr>
            <p:cNvCxnSpPr>
              <a:cxnSpLocks/>
            </p:cNvCxnSpPr>
            <p:nvPr/>
          </p:nvCxnSpPr>
          <p:spPr>
            <a:xfrm>
              <a:off x="4870323" y="5295847"/>
              <a:ext cx="3243800" cy="0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62C8029-14E4-EED0-E204-9D8E3B1552BD}"/>
              </a:ext>
            </a:extLst>
          </p:cNvPr>
          <p:cNvSpPr txBox="1"/>
          <p:nvPr/>
        </p:nvSpPr>
        <p:spPr>
          <a:xfrm>
            <a:off x="8425279" y="1508513"/>
            <a:ext cx="3211983" cy="4739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analysis found an incremental economic value of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$1,100-3,500 US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employee of investing in optimal well-being global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800" dirty="0">
                <a:solidFill>
                  <a:srgbClr val="000000"/>
                </a:solidFill>
              </a:rPr>
              <a:t>Capturing just 10% of the total opportunity could yield up to </a:t>
            </a:r>
            <a:r>
              <a:rPr lang="en-US" sz="1800" b="1" dirty="0">
                <a:solidFill>
                  <a:schemeClr val="accent3"/>
                </a:solidFill>
              </a:rPr>
              <a:t>$1.17 trillion of annual value </a:t>
            </a:r>
            <a:r>
              <a:rPr lang="en-US" sz="1800" dirty="0">
                <a:solidFill>
                  <a:srgbClr val="000000"/>
                </a:solidFill>
              </a:rPr>
              <a:t>and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dirty="0">
                <a:solidFill>
                  <a:schemeClr val="accent3"/>
                </a:solidFill>
              </a:rPr>
              <a:t>raise the global GDP by more than 1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endParaRPr lang="en-US" sz="1800" b="1" dirty="0">
              <a:solidFill>
                <a:schemeClr val="accent3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800" dirty="0">
                <a:solidFill>
                  <a:srgbClr val="000000"/>
                </a:solidFill>
              </a:rPr>
              <a:t>Every 1-3% increase in global workforce participation is worth a </a:t>
            </a:r>
            <a:r>
              <a:rPr lang="en-US" sz="1800" b="1" dirty="0">
                <a:solidFill>
                  <a:schemeClr val="accent3"/>
                </a:solidFill>
              </a:rPr>
              <a:t>further $1.4 billion to $4.2 billion</a:t>
            </a:r>
          </a:p>
        </p:txBody>
      </p:sp>
      <p:sp>
        <p:nvSpPr>
          <p:cNvPr id="12" name="4. Footnote">
            <a:extLst>
              <a:ext uri="{FF2B5EF4-FFF2-40B4-BE49-F238E27FC236}">
                <a16:creationId xmlns:a16="http://schemas.microsoft.com/office/drawing/2014/main" id="{A3AC4711-7F24-80FE-4265-435F259B16B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10311" y="6552517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Excluding direct healthcare costs globally, as these vary widely country to country</a:t>
            </a:r>
          </a:p>
        </p:txBody>
      </p:sp>
      <p:cxnSp>
        <p:nvCxnSpPr>
          <p:cNvPr id="13" name="LineContentSeparatorDefaultVertical 60">
            <a:extLst>
              <a:ext uri="{FF2B5EF4-FFF2-40B4-BE49-F238E27FC236}">
                <a16:creationId xmlns:a16="http://schemas.microsoft.com/office/drawing/2014/main" id="{01425C20-3F9E-498F-6F04-3D9C013D0FB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8180165" y="1508513"/>
            <a:ext cx="0" cy="4739759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2. Slide Title">
            <a:extLst>
              <a:ext uri="{FF2B5EF4-FFF2-40B4-BE49-F238E27FC236}">
                <a16:creationId xmlns:a16="http://schemas.microsoft.com/office/drawing/2014/main" id="{40D8A327-149C-839E-B1FB-721A1BF982A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54736" y="384394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Prioritizing investment in mental health at work creates</a:t>
            </a:r>
            <a:r>
              <a:rPr lang="en-CA" sz="2400" b="1" dirty="0">
                <a:solidFill>
                  <a:srgbClr val="000000"/>
                </a:solidFill>
                <a:latin typeface="Georgia"/>
              </a:rPr>
              <a:t> meaningful upside for global economies and significant value for employer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3406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88A4A9-A7E4-6E99-3EA1-D732D34870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8740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04" imgH="405" progId="TCLayout.ActiveDocument.1">
                  <p:embed/>
                </p:oleObj>
              </mc:Choice>
              <mc:Fallback>
                <p:oleObj name="think-cell Slide" r:id="rId31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B8C0B92C-26B0-5CD3-2981-C9B4B2978A92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1" name="CustomIcon">
            <a:extLst>
              <a:ext uri="{FF2B5EF4-FFF2-40B4-BE49-F238E27FC236}">
                <a16:creationId xmlns:a16="http://schemas.microsoft.com/office/drawing/2014/main" id="{FB48EFE6-DFF2-8519-F038-CBF9DEEF4BE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571500" y="1750972"/>
            <a:ext cx="581575" cy="581575"/>
            <a:chOff x="-205105" y="-205105"/>
            <a:chExt cx="1019810" cy="1019810"/>
          </a:xfrm>
          <a:solidFill>
            <a:schemeClr val="accent3"/>
          </a:solidFill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D53A647-38C5-1661-8884-0FBD51DFBA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0AB4D7E3-6C96-B8A6-B717-1D5E0589A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5" name="CustomIcon">
            <a:extLst>
              <a:ext uri="{FF2B5EF4-FFF2-40B4-BE49-F238E27FC236}">
                <a16:creationId xmlns:a16="http://schemas.microsoft.com/office/drawing/2014/main" id="{ACBED795-BBAC-FCB9-4CAD-956EAA1C18D8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71500" y="2515892"/>
            <a:ext cx="581575" cy="581575"/>
            <a:chOff x="-205105" y="-205105"/>
            <a:chExt cx="1019810" cy="1019810"/>
          </a:xfrm>
          <a:solidFill>
            <a:schemeClr val="accent3"/>
          </a:solidFill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083C342-1D2B-196F-719F-E70D782CFC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9FED3E27-B89F-DA64-0927-7C323744E1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9" name="CustomIcon">
            <a:extLst>
              <a:ext uri="{FF2B5EF4-FFF2-40B4-BE49-F238E27FC236}">
                <a16:creationId xmlns:a16="http://schemas.microsoft.com/office/drawing/2014/main" id="{BFBD57F0-B322-B91C-961E-946618F7118C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71500" y="3240187"/>
            <a:ext cx="581575" cy="581575"/>
            <a:chOff x="-205105" y="-205105"/>
            <a:chExt cx="1019810" cy="1019810"/>
          </a:xfrm>
          <a:solidFill>
            <a:schemeClr val="accent3"/>
          </a:solidFill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20689F9-4A00-9FDD-034F-3D7F7CA7EB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902F3F16-3DB2-BE2F-276E-1F147F036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43" name="CustomIcon">
            <a:extLst>
              <a:ext uri="{FF2B5EF4-FFF2-40B4-BE49-F238E27FC236}">
                <a16:creationId xmlns:a16="http://schemas.microsoft.com/office/drawing/2014/main" id="{A2CA6EE7-7C4B-B52D-2910-8F07C5BDA2C7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71500" y="5526151"/>
            <a:ext cx="587391" cy="587391"/>
            <a:chOff x="-205105" y="-205105"/>
            <a:chExt cx="1019810" cy="1019810"/>
          </a:xfrm>
          <a:solidFill>
            <a:schemeClr val="accent3"/>
          </a:solidFill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70F8785-3DF3-FBF7-CF46-2F3319BADC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67142D56-87DB-4280-6654-75B8742092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47" name="CustomIcon">
            <a:extLst>
              <a:ext uri="{FF2B5EF4-FFF2-40B4-BE49-F238E27FC236}">
                <a16:creationId xmlns:a16="http://schemas.microsoft.com/office/drawing/2014/main" id="{FD165FC4-AE3C-D308-080F-D78F3DF3D8C9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571500" y="4742403"/>
            <a:ext cx="587391" cy="587391"/>
            <a:chOff x="-205105" y="-205105"/>
            <a:chExt cx="1019810" cy="1019810"/>
          </a:xfrm>
          <a:solidFill>
            <a:schemeClr val="accent3"/>
          </a:solidFill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0200CCCF-BB89-87C5-F0A5-0D3F98FE42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13D6A13B-B4BB-8FC6-8DED-6C27823ADF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51" name="CustomIcon">
            <a:extLst>
              <a:ext uri="{FF2B5EF4-FFF2-40B4-BE49-F238E27FC236}">
                <a16:creationId xmlns:a16="http://schemas.microsoft.com/office/drawing/2014/main" id="{FCFB8515-CE15-C6BA-1FCB-C2C2A866ABB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571500" y="3972855"/>
            <a:ext cx="587391" cy="587391"/>
            <a:chOff x="-205105" y="-205105"/>
            <a:chExt cx="1019810" cy="1019810"/>
          </a:xfrm>
          <a:solidFill>
            <a:schemeClr val="accent3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25877BB-FBC6-7DEB-420E-D9FD6EFF31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F1F3F333-CB01-3FB5-0A0A-C140D5A054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26B73B7B-B626-4FB9-7960-9FD71D2BDBF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1500" y="1365301"/>
            <a:ext cx="3513667" cy="2333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Enabler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7FA35CF-FD43-E3DD-16B5-9CE0175A7E8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300976" y="1750972"/>
            <a:ext cx="2784191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Social interac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63DC2AD-90A8-6C1D-4E55-874AF187C3F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300976" y="2515892"/>
            <a:ext cx="2784191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Mindsets and belief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9EAE2DF-96AF-104F-2645-5CD045C9A84C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300976" y="3241605"/>
            <a:ext cx="2784191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Productive activit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E4CBD76-0001-C1CD-7AD7-F039BEAC737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300976" y="3980090"/>
            <a:ext cx="2784191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Stres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086FC4C-6CBF-4E30-6936-B1CCA0A2B794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300976" y="4723843"/>
            <a:ext cx="2784191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Economic security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386A0BB-DD2C-D337-AC43-B1EB932BF727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300976" y="5507592"/>
            <a:ext cx="2784191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Sleep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4CA441C-8832-A34F-D4C5-836FE5E28897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3842657" y="1365301"/>
            <a:ext cx="7777843" cy="2333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Sample practic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78F23C6-80C8-E4E3-1E4C-423C32280781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842657" y="1750972"/>
            <a:ext cx="7777843" cy="53091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Establishing a zero-tolerance policy for toxic workplace behavior</a:t>
            </a:r>
          </a:p>
          <a:p>
            <a:pPr lvl="1"/>
            <a:r>
              <a:rPr lang="en-US" dirty="0"/>
              <a:t>Implementing anonymous reporting processe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7610C8B-2DFD-5C87-928B-DBA7BAFAF8F9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842657" y="2515892"/>
            <a:ext cx="7777843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Defining a company’s mission so that employees are inspired – and compelled to bring their best selves to work – by it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E7DCA91-2273-606E-6584-ECE07E3C696D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3842657" y="3241605"/>
            <a:ext cx="7777843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Creating opportunities for employees to engage in volunteering, hobbies, activism, traveling, and other activities both within and outside of their job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D6D6C23-C111-3D54-7FB2-DDCF004A70A7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3842657" y="3980090"/>
            <a:ext cx="7777843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Building in recovery time for employees to regain their energy after high-demand periods </a:t>
            </a:r>
            <a:r>
              <a:rPr lang="en-US"/>
              <a:t>or projects</a:t>
            </a:r>
            <a:endParaRPr lang="en-US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7E50053-373F-92AF-393B-4DB930B89325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3842657" y="4723843"/>
            <a:ext cx="7777843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Ensuring that compensation and benefits cover an employees’ </a:t>
            </a:r>
            <a:r>
              <a:rPr lang="en-US"/>
              <a:t>basic needs</a:t>
            </a:r>
            <a:endParaRPr lang="en-US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D08443B-7C54-D295-A215-8A7E9B54DD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3842657" y="5507592"/>
            <a:ext cx="7777843" cy="47171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Creating work environments with natural light and access to healthy foods</a:t>
            </a:r>
          </a:p>
          <a:p>
            <a:pPr lvl="1"/>
            <a:r>
              <a:rPr lang="en-US" dirty="0"/>
              <a:t>Limiting or discouraging employees from being online after hours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6459F08C-EA58-9A72-1E54-A45C19A3B762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571500" y="1687472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14E3AEE-E417-2204-2415-934ADAC9305C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>
            <a:off x="571500" y="2452392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1B68324-51D4-D0A8-0A73-EF606BF7C4BD}"/>
              </a:ext>
            </a:extLst>
          </p:cNvPr>
          <p:cNvCxnSpPr/>
          <p:nvPr>
            <p:custDataLst>
              <p:tags r:id="rId25"/>
            </p:custDataLst>
          </p:nvPr>
        </p:nvCxnSpPr>
        <p:spPr>
          <a:xfrm>
            <a:off x="571500" y="3178105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B351F48A-3321-374F-C2E0-CEA26146D12B}"/>
              </a:ext>
            </a:extLst>
          </p:cNvPr>
          <p:cNvCxnSpPr/>
          <p:nvPr>
            <p:custDataLst>
              <p:tags r:id="rId26"/>
            </p:custDataLst>
          </p:nvPr>
        </p:nvCxnSpPr>
        <p:spPr>
          <a:xfrm>
            <a:off x="571500" y="3916590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D648B9B-7093-6634-7E0F-0B2C2617A53F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571500" y="4660343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932B1B67-6A59-0552-726B-0EA73875399C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571500" y="5444092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2. Slide Title">
            <a:extLst>
              <a:ext uri="{FF2B5EF4-FFF2-40B4-BE49-F238E27FC236}">
                <a16:creationId xmlns:a16="http://schemas.microsoft.com/office/drawing/2014/main" id="{C51A155A-3046-A256-EEDE-1B01FC9C138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554736" y="384394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2400" dirty="0"/>
              <a:t>MHI’s recent “Nine to Thrive” report outlines 6 key enablers employers can use to promote employee brain health and wellbeing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8316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EC37411-95A8-E1E3-8B1B-FF11D1B41A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932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37411-95A8-E1E3-8B1B-FF11D1B41A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7EF990F1-CA4D-8CC1-4DEE-567F78BCA78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0000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2. Slide Title">
            <a:extLst>
              <a:ext uri="{FF2B5EF4-FFF2-40B4-BE49-F238E27FC236}">
                <a16:creationId xmlns:a16="http://schemas.microsoft.com/office/drawing/2014/main" id="{418166A5-41C4-A477-DC58-8F726D34C59E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34340" y="2475706"/>
            <a:ext cx="4936106" cy="1906588"/>
          </a:xfrm>
        </p:spPr>
        <p:txBody>
          <a:bodyPr vert="horz">
            <a:normAutofit/>
          </a:bodyPr>
          <a:lstStyle/>
          <a:p>
            <a:r>
              <a:rPr lang="en-GB" sz="4400" b="1" dirty="0">
                <a:cs typeface="Arial"/>
              </a:rPr>
              <a:t>A recipe for a thriving workforce</a:t>
            </a:r>
            <a:endParaRPr lang="en-US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6141C425-69DE-C88A-27F6-568AC475308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SlideLogoText">
            <a:extLst>
              <a:ext uri="{FF2B5EF4-FFF2-40B4-BE49-F238E27FC236}">
                <a16:creationId xmlns:a16="http://schemas.microsoft.com/office/drawing/2014/main" id="{55266110-89B3-6B5E-482F-79C05DB7C9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59149" y="6499381"/>
            <a:ext cx="130163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Health Institu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306B29F-7C8C-B186-A51D-0F7173D3BA61}"/>
              </a:ext>
            </a:extLst>
          </p:cNvPr>
          <p:cNvSpPr txBox="1"/>
          <p:nvPr/>
        </p:nvSpPr>
        <p:spPr>
          <a:xfrm>
            <a:off x="6365566" y="1035260"/>
            <a:ext cx="5418379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Treat employe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healt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 as a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strategic imperativ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FDDBED-9512-B9B3-3183-B016C3C208B6}"/>
              </a:ext>
            </a:extLst>
          </p:cNvPr>
          <p:cNvSpPr txBox="1"/>
          <p:nvPr/>
        </p:nvSpPr>
        <p:spPr>
          <a:xfrm>
            <a:off x="6400801" y="2337956"/>
            <a:ext cx="5183864" cy="1292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Take a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organization-wide approach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(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not just focusing on individual interventions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AD36825-7BF8-CC92-6154-F2E6C54275F3}"/>
              </a:ext>
            </a:extLst>
          </p:cNvPr>
          <p:cNvSpPr txBox="1"/>
          <p:nvPr/>
        </p:nvSpPr>
        <p:spPr>
          <a:xfrm>
            <a:off x="6421703" y="4074369"/>
            <a:ext cx="5044743" cy="43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Invest better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, not mo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FDD39EB-BD4A-DE2B-BB23-4FC944994CEE}"/>
              </a:ext>
            </a:extLst>
          </p:cNvPr>
          <p:cNvSpPr txBox="1"/>
          <p:nvPr/>
        </p:nvSpPr>
        <p:spPr>
          <a:xfrm>
            <a:off x="6421703" y="4985177"/>
            <a:ext cx="5044743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Hold leader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accountable to outcomes</a:t>
            </a:r>
          </a:p>
        </p:txBody>
      </p:sp>
    </p:spTree>
    <p:extLst>
      <p:ext uri="{BB962C8B-B14F-4D97-AF65-F5344CB8AC3E}">
        <p14:creationId xmlns:p14="http://schemas.microsoft.com/office/powerpoint/2010/main" val="7413398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>
            <a:extLst>
              <a:ext uri="{FF2B5EF4-FFF2-40B4-BE49-F238E27FC236}">
                <a16:creationId xmlns:a16="http://schemas.microsoft.com/office/drawing/2014/main" id="{F98836D6-245B-4B5F-93C4-3158F97D01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98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3" hidden="1">
                        <a:extLst>
                          <a:ext uri="{FF2B5EF4-FFF2-40B4-BE49-F238E27FC236}">
                            <a16:creationId xmlns:a16="http://schemas.microsoft.com/office/drawing/2014/main" id="{F98836D6-245B-4B5F-93C4-3158F97D01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2. Slide Title">
            <a:extLst>
              <a:ext uri="{FF2B5EF4-FFF2-40B4-BE49-F238E27FC236}">
                <a16:creationId xmlns:a16="http://schemas.microsoft.com/office/drawing/2014/main" id="{2B17D823-46DE-4218-AE5B-BABFFD3D7D4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Clr>
                <a:schemeClr val="tx2"/>
              </a:buClr>
            </a:pPr>
            <a:r>
              <a:rPr lang="en-GB" sz="3200" dirty="0"/>
              <a:t>To learn more…</a:t>
            </a:r>
            <a:endParaRPr lang="en-US" sz="32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08FAE13-AB01-4217-993C-72AE2C963B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976F109-550D-4F99-8A52-BE714D0E383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EC9F986-0882-4076-AAB7-7D70A79D1EAA}"/>
              </a:ext>
            </a:extLst>
          </p:cNvPr>
          <p:cNvSpPr txBox="1">
            <a:spLocks/>
          </p:cNvSpPr>
          <p:nvPr/>
        </p:nvSpPr>
        <p:spPr>
          <a:xfrm>
            <a:off x="4208487" y="4149076"/>
            <a:ext cx="3619791" cy="224083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Visit our </a:t>
            </a: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ployee Health Platform </a:t>
            </a: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to learn more about our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free-of-charge survey</a:t>
            </a: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and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ction planning tool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8E077E-59DC-414A-96E3-00091997601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220153" y="2028073"/>
            <a:ext cx="1596458" cy="159645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638D7F7-3D88-47B7-9DA2-3627E8B72ADD}"/>
              </a:ext>
            </a:extLst>
          </p:cNvPr>
          <p:cNvSpPr txBox="1">
            <a:spLocks/>
          </p:cNvSpPr>
          <p:nvPr/>
        </p:nvSpPr>
        <p:spPr>
          <a:xfrm>
            <a:off x="403607" y="4149076"/>
            <a:ext cx="3619791" cy="224083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Keep up with our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ployee Health and Well-being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publication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8DFF659-9C9B-40EE-BE9E-71D20F61E589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415273" y="2028073"/>
            <a:ext cx="1596458" cy="159645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E41F0BA-86B2-4CBF-ABD8-690CBDF85374}"/>
              </a:ext>
            </a:extLst>
          </p:cNvPr>
          <p:cNvSpPr txBox="1">
            <a:spLocks/>
          </p:cNvSpPr>
          <p:nvPr/>
        </p:nvSpPr>
        <p:spPr>
          <a:xfrm>
            <a:off x="8013367" y="4149076"/>
            <a:ext cx="3619791" cy="224083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Follow us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on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FB475A-9AF3-42D1-B85A-E40A614E261F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9025194" y="2028073"/>
            <a:ext cx="1596136" cy="156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27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23-06-27 02:36 PM"/>
  <p:tag name="THINKCELLPRESENTATIONDONOTDELETE" val="&lt;?xml version=&quot;1.0&quot; encoding=&quot;UTF-16&quot; standalone=&quot;yes&quot;?&gt;&lt;root reqver=&quot;27037&quot;&gt;&lt;version val=&quot;330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MTBTACCENT" val="Accent2ColorBoldText"/>
  <p:tag name="ICONFILLBACKGROUND" val="Color [A=255, R=5, G=28, B=44]"/>
  <p:tag name="ICONFILLBACKGROUNDTHEME" val="Accent 1"/>
  <p:tag name="ICONENCLOSURE" val="False"/>
  <p:tag name="ICONLINEFILL" val="Color [A=255, R=0, G=0, B=0]"/>
  <p:tag name="ICONLINEFILLTHEME" val="Text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QbWeLz8.8R.rAAWj4zk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rz9zda8GX.mJLozzH.k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r4tMNF_YKrm2klDtNmB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LT1O8TxUOiwuWKMXiHf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8"/>
  <p:tag name="2LEVEL" val="4"/>
  <p:tag name="3LEVEL" val="2"/>
  <p:tag name="4LEVEL" val="1"/>
  <p:tag name="5LEVEL" val="0.5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0"/>
  <p:tag name="3LEVEL" val="0.75"/>
  <p:tag name="4LEVEL" val="0.38"/>
  <p:tag name="5LEVEL" val="0.19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0"/>
  <p:tag name="3LEVEL" val="0.75"/>
  <p:tag name="4LEVEL" val="0.38"/>
  <p:tag name="5LEVEL" val="0.19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MinusSign"/>
  <p:tag name="CIRCLESTATUS" val="White"/>
  <p:tag name="NAME" val="MinusSignWhite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PlusSign"/>
  <p:tag name="CIRCLESTATUS" val="White"/>
  <p:tag name="NAME" val="PlusSignWhit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45"/>
  <p:tag name="TOP" val="110"/>
  <p:tag name="HEIGHT" val="37.14283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45"/>
  <p:tag name="HEIGHT" val="37.14283"/>
  <p:tag name="TOP" val="167.1428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45"/>
  <p:tag name="TOP" val="224.2857"/>
  <p:tag name="HEIGHT" val="37.14283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45"/>
  <p:tag name="TOP" val="281.4286"/>
  <p:tag name="HEIGHT" val="37.14283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45"/>
  <p:tag name="TOP" val="338.5714"/>
  <p:tag name="HEIGHT" val="37.14283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45"/>
  <p:tag name="TOP" val="395.7143"/>
  <p:tag name="HEIGHT" val="37.14283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45"/>
  <p:tag name="HEIGHT" val="37.14283"/>
  <p:tag name="TOP" val="452.8572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341.6667"/>
  <p:tag name="TOP" val="110"/>
  <p:tag name="HEIGHT" val="37.14283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341.6667"/>
  <p:tag name="TOP" val="167.1429"/>
  <p:tag name="HEIGHT" val="37.14283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341.6667"/>
  <p:tag name="TOP" val="224.2857"/>
  <p:tag name="HEIGHT" val="37.14283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341.6667"/>
  <p:tag name="TOP" val="281.4286"/>
  <p:tag name="HEIGHT" val="37.14283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341.6667"/>
  <p:tag name="TOP" val="338.5714"/>
  <p:tag name="HEIGHT" val="37.14283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341.6667"/>
  <p:tag name="TOP" val="395.7143"/>
  <p:tag name="HEIGHT" val="37.1428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76.6667"/>
  <p:tag name="MTTABLE" val="Cell"/>
  <p:tag name="MTNUMBER" val="0.296455403927926"/>
  <p:tag name="LEFT" val="341.6667"/>
  <p:tag name="TOP" val="452.8571"/>
  <p:tag name="HEIGHT" val="37.14283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96455403927926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96455403927926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96455403927926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96455403927926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96455403927926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96455403927926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Blank.potx" id="{3CE3ACB9-35B4-4887-8A44-E3EBF3609EBA}" vid="{A411A28B-4AE4-48E7-BF75-67F568418472}"/>
    </a:ext>
  </a:extLst>
</a:theme>
</file>

<file path=ppt/theme/theme10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Blank.potx" id="{2273DDE6-D756-4F34-AE83-CF6F5C456B36}" vid="{170DB3FF-1354-4967-959E-D230BE2860AC}"/>
    </a:ext>
  </a:extLst>
</a:theme>
</file>

<file path=ppt/theme/theme11.xml><?xml version="1.0" encoding="utf-8"?>
<a:theme xmlns:a="http://schemas.openxmlformats.org/drawingml/2006/main" name="3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ppt/theme/theme12.xml><?xml version="1.0" encoding="utf-8"?>
<a:theme xmlns:a="http://schemas.openxmlformats.org/drawingml/2006/main" name="4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Template-Wide.potx" id="{E6E8CFEE-4566-4FBC-A005-7826ADADF567}" vid="{1B294989-52FF-4B17-8C0C-D68F35A06920}"/>
    </a:ext>
  </a:extLst>
</a:theme>
</file>

<file path=ppt/theme/theme1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700">
      <a:srgbClr val="B82525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1D105B9C-BDF9-45B9-90FA-113B7713DD03}" vid="{2E85953B-6F95-475D-964A-596E5264B845}"/>
    </a:ext>
  </a:extLst>
</a:theme>
</file>

<file path=ppt/theme/theme3.xml><?xml version="1.0" encoding="utf-8"?>
<a:theme xmlns:a="http://schemas.openxmlformats.org/drawingml/2006/main" name="10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Blank.potx" id="{2273DDE6-D756-4F34-AE83-CF6F5C456B36}" vid="{877ACEE8-953D-42CB-BC71-D75BFB822B28}"/>
    </a:ext>
  </a:extLst>
</a:theme>
</file>

<file path=ppt/theme/theme4.xml><?xml version="1.0" encoding="utf-8"?>
<a:theme xmlns:a="http://schemas.openxmlformats.org/drawingml/2006/main" name="6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ppt/theme/theme5.xml><?xml version="1.0" encoding="utf-8"?>
<a:theme xmlns:a="http://schemas.openxmlformats.org/drawingml/2006/main" name="7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Blank.potx" id="{2273DDE6-D756-4F34-AE83-CF6F5C456B36}" vid="{170DB3FF-1354-4967-959E-D230BE2860AC}"/>
    </a:ext>
  </a:extLst>
</a:theme>
</file>

<file path=ppt/theme/theme6.xml><?xml version="1.0" encoding="utf-8"?>
<a:theme xmlns:a="http://schemas.openxmlformats.org/drawingml/2006/main" name="11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1D105B9C-BDF9-45B9-90FA-113B7713DD03}" vid="{9E7FA428-ED7E-4F0A-B4BF-70EA0ED37692}"/>
    </a:ext>
  </a:extLst>
</a:theme>
</file>

<file path=ppt/theme/theme7.xml><?xml version="1.0" encoding="utf-8"?>
<a:theme xmlns:a="http://schemas.openxmlformats.org/drawingml/2006/main" name="12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D8E3C897-85A5-4EC0-B954-E609CAE62F33}" vid="{2ABC85F8-71AD-4C15-A80D-F811E14427FE}"/>
    </a:ext>
  </a:extLst>
</a:theme>
</file>

<file path=ppt/theme/theme8.xml><?xml version="1.0" encoding="utf-8"?>
<a:theme xmlns:a="http://schemas.openxmlformats.org/drawingml/2006/main" name="2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Blank.potx" id="{3CE3ACB9-35B4-4887-8A44-E3EBF3609EBA}" vid="{A411A28B-4AE4-48E7-BF75-67F568418472}"/>
    </a:ext>
  </a:extLst>
</a:theme>
</file>

<file path=ppt/theme/theme9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9813ED62-390D-4ED1-AEE8-EDF1E59A9883}" vid="{999FE94E-7E4C-46F0-B01F-459F7E9C3AB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90</TotalTime>
  <Words>972</Words>
  <Application>Microsoft Office PowerPoint</Application>
  <PresentationFormat>Widescreen</PresentationFormat>
  <Paragraphs>124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7" baseType="lpstr">
      <vt:lpstr>Arial</vt:lpstr>
      <vt:lpstr>Calibri</vt:lpstr>
      <vt:lpstr>Georgia</vt:lpstr>
      <vt:lpstr>Segoe UI</vt:lpstr>
      <vt:lpstr>Wingdings</vt:lpstr>
      <vt:lpstr>1_White</vt:lpstr>
      <vt:lpstr>5_White</vt:lpstr>
      <vt:lpstr>10_Contrast</vt:lpstr>
      <vt:lpstr>6_White</vt:lpstr>
      <vt:lpstr>7_White</vt:lpstr>
      <vt:lpstr>11_Contrast</vt:lpstr>
      <vt:lpstr>12_Contrast</vt:lpstr>
      <vt:lpstr>2_White</vt:lpstr>
      <vt:lpstr>Contrast</vt:lpstr>
      <vt:lpstr>White</vt:lpstr>
      <vt:lpstr>3_White</vt:lpstr>
      <vt:lpstr>4_White</vt:lpstr>
      <vt:lpstr>think-cell Slide</vt:lpstr>
      <vt:lpstr>Reframing Employee Health: Moving Beyond Burnout to Holistic Health</vt:lpstr>
      <vt:lpstr>PowerPoint Presentation</vt:lpstr>
      <vt:lpstr>MHI views holistic health in four dimensions</vt:lpstr>
      <vt:lpstr>PowerPoint Presentation</vt:lpstr>
      <vt:lpstr>For employees to thrive, organizations should both address burnout symptoms and support good holistic health – just one is not enough </vt:lpstr>
      <vt:lpstr>Why Employee Health</vt:lpstr>
      <vt:lpstr>PowerPoint Presentation</vt:lpstr>
      <vt:lpstr>A recipe for a thriving workforce</vt:lpstr>
      <vt:lpstr>To learn more…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30808 EHW Report Visuals for VG</dc:title>
  <dc:subject/>
  <dc:creator>Roxy Merkand</dc:creator>
  <cp:keywords/>
  <dc:description/>
  <cp:lastModifiedBy>Anne Godlasky</cp:lastModifiedBy>
  <cp:revision>82</cp:revision>
  <cp:lastPrinted>2018-10-30T20:37:12Z</cp:lastPrinted>
  <dcterms:created xsi:type="dcterms:W3CDTF">2023-09-08T16:52:01Z</dcterms:created>
  <dcterms:modified xsi:type="dcterms:W3CDTF">2024-05-22T16:06:1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06-27 02:36 PM</vt:lpwstr>
  </property>
  <property fmtid="{D5CDD505-2E9C-101B-9397-08002B2CF9AE}" pid="8" name="TemplateCreated">
    <vt:lpwstr>2019-02-27 01:18 PM</vt:lpwstr>
  </property>
</Properties>
</file>